
<file path=[Content_Types].xml><?xml version="1.0" encoding="utf-8"?>
<Types xmlns="http://schemas.openxmlformats.org/package/2006/content-types"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50.xml" ContentType="application/vnd.openxmlformats-officedocument.presentationml.tags+xml"/>
  <Override PartName="/ppt/notesSlides/notesSlide14.xml" ContentType="application/vnd.openxmlformats-officedocument.presentationml.notesSlide+xml"/>
  <Override PartName="/ppt/tags/tag5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1"/>
  </p:notesMasterIdLst>
  <p:sldIdLst>
    <p:sldId id="256" r:id="rId2"/>
    <p:sldId id="258" r:id="rId3"/>
    <p:sldId id="260" r:id="rId4"/>
    <p:sldId id="262" r:id="rId5"/>
    <p:sldId id="261" r:id="rId6"/>
    <p:sldId id="263" r:id="rId7"/>
    <p:sldId id="268" r:id="rId8"/>
    <p:sldId id="269" r:id="rId9"/>
    <p:sldId id="273" r:id="rId10"/>
    <p:sldId id="274" r:id="rId11"/>
    <p:sldId id="275" r:id="rId12"/>
    <p:sldId id="276" r:id="rId13"/>
    <p:sldId id="282" r:id="rId14"/>
    <p:sldId id="277" r:id="rId15"/>
    <p:sldId id="278" r:id="rId16"/>
    <p:sldId id="279" r:id="rId17"/>
    <p:sldId id="280" r:id="rId18"/>
    <p:sldId id="281" r:id="rId19"/>
    <p:sldId id="284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guyễn Xuân Sơn" initials="NX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1" autoAdjust="0"/>
    <p:restoredTop sz="94660"/>
  </p:normalViewPr>
  <p:slideViewPr>
    <p:cSldViewPr snapToGrid="0" showGuides="1">
      <p:cViewPr varScale="1">
        <p:scale>
          <a:sx n="83" d="100"/>
          <a:sy n="83" d="100"/>
        </p:scale>
        <p:origin x="566" y="72"/>
      </p:cViewPr>
      <p:guideLst>
        <p:guide orient="horz" pos="2160"/>
        <p:guide pos="384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FD42F7-718C-4B98-AAEC-167E6DDD60A7}" type="datetimeFigureOut">
              <a:rPr lang="en-US" smtClean="0"/>
              <a:t>10/1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B2AA4F-B828-4D7C-AFD3-893933DAFCB4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GB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GB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GB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GB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GB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GB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alt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altLang="en-GB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altLang="en-GB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GB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GB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GB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GB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GB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10/1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10/1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10/1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10/1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10/1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10/1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10/19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10/19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10/19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10/1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1C593-65D0-4073-BCC9-577B9352EA97}" type="datetimeFigureOut">
              <a:rPr lang="en-US" smtClean="0"/>
              <a:t>10/1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A1C593-65D0-4073-BCC9-577B9352EA97}" type="datetimeFigureOut">
              <a:rPr lang="en-US" smtClean="0"/>
              <a:t>10/1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618960-8005-486C-9A75-10CB2AAC16F9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2.jpeg"/><Relationship Id="rId5" Type="http://schemas.openxmlformats.org/officeDocument/2006/relationships/image" Target="../media/image1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audio" Target="../media/media10.m4a"/><Relationship Id="rId1" Type="http://schemas.microsoft.com/office/2007/relationships/media" Target="../media/media10.m4a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audio" Target="../media/media11.m4a"/><Relationship Id="rId1" Type="http://schemas.microsoft.com/office/2007/relationships/media" Target="../media/media11.m4a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audio" Target="../media/media12.m4a"/><Relationship Id="rId1" Type="http://schemas.microsoft.com/office/2007/relationships/media" Target="../media/media12.m4a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slideLayout" Target="../slideLayouts/slideLayout2.xml"/><Relationship Id="rId3" Type="http://schemas.openxmlformats.org/officeDocument/2006/relationships/audio" Target="../media/media13.m4a"/><Relationship Id="rId21" Type="http://schemas.openxmlformats.org/officeDocument/2006/relationships/image" Target="../media/image3.png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" Type="http://schemas.microsoft.com/office/2007/relationships/media" Target="../media/media13.m4a"/><Relationship Id="rId16" Type="http://schemas.openxmlformats.org/officeDocument/2006/relationships/tags" Target="../tags/tag48.xml"/><Relationship Id="rId20" Type="http://schemas.openxmlformats.org/officeDocument/2006/relationships/image" Target="../media/image26.png"/><Relationship Id="rId1" Type="http://schemas.openxmlformats.org/officeDocument/2006/relationships/tags" Target="../tags/tag35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10" Type="http://schemas.openxmlformats.org/officeDocument/2006/relationships/tags" Target="../tags/tag42.xml"/><Relationship Id="rId19" Type="http://schemas.openxmlformats.org/officeDocument/2006/relationships/notesSlide" Target="../notesSlides/notesSlide9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audio" Target="../media/media14.m4a"/><Relationship Id="rId1" Type="http://schemas.microsoft.com/office/2007/relationships/media" Target="../media/media14.m4a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notesSlide" Target="../notesSlides/notesSlide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audio" Target="../media/media15.m4a"/><Relationship Id="rId1" Type="http://schemas.microsoft.com/office/2007/relationships/media" Target="../media/media15.m4a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notesSlide" Target="../notesSlides/notesSlide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audio" Target="../media/media16.m4a"/><Relationship Id="rId1" Type="http://schemas.microsoft.com/office/2007/relationships/media" Target="../media/media16.m4a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notesSlide" Target="../notesSlides/notesSlide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audio" Target="../media/media17.m4a"/><Relationship Id="rId1" Type="http://schemas.microsoft.com/office/2007/relationships/media" Target="../media/media17.m4a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audio" Target="../media/media18.m4a"/><Relationship Id="rId2" Type="http://schemas.microsoft.com/office/2007/relationships/media" Target="../media/media18.m4a"/><Relationship Id="rId1" Type="http://schemas.openxmlformats.org/officeDocument/2006/relationships/tags" Target="../tags/tag50.xml"/><Relationship Id="rId6" Type="http://schemas.openxmlformats.org/officeDocument/2006/relationships/image" Target="../media/image3.png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audio" Target="../media/media19.m4a"/><Relationship Id="rId7" Type="http://schemas.openxmlformats.org/officeDocument/2006/relationships/image" Target="../media/image2.jpeg"/><Relationship Id="rId2" Type="http://schemas.microsoft.com/office/2007/relationships/media" Target="../media/media19.m4a"/><Relationship Id="rId1" Type="http://schemas.openxmlformats.org/officeDocument/2006/relationships/tags" Target="../tags/tag51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6" Type="http://schemas.openxmlformats.org/officeDocument/2006/relationships/image" Target="../media/image3.pn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svg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8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tags" Target="../tags/tag3.xml"/><Relationship Id="rId21" Type="http://schemas.openxmlformats.org/officeDocument/2006/relationships/image" Target="../media/image3.png"/><Relationship Id="rId7" Type="http://schemas.openxmlformats.org/officeDocument/2006/relationships/audio" Target="../media/media5.m4a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tags" Target="../tags/tag2.xml"/><Relationship Id="rId16" Type="http://schemas.openxmlformats.org/officeDocument/2006/relationships/tags" Target="../tags/tag14.xml"/><Relationship Id="rId20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microsoft.com/office/2007/relationships/media" Target="../media/media5.m4a"/><Relationship Id="rId11" Type="http://schemas.openxmlformats.org/officeDocument/2006/relationships/tags" Target="../tags/tag9.xml"/><Relationship Id="rId5" Type="http://schemas.openxmlformats.org/officeDocument/2006/relationships/tags" Target="../tags/tag5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4.xml"/><Relationship Id="rId9" Type="http://schemas.openxmlformats.org/officeDocument/2006/relationships/tags" Target="../tags/tag7.xml"/><Relationship Id="rId14" Type="http://schemas.openxmlformats.org/officeDocument/2006/relationships/tags" Target="../tags/tag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3.png"/><Relationship Id="rId3" Type="http://schemas.openxmlformats.org/officeDocument/2006/relationships/audio" Target="../media/media6.m4a"/><Relationship Id="rId7" Type="http://schemas.openxmlformats.org/officeDocument/2006/relationships/tags" Target="../tags/tag22.xml"/><Relationship Id="rId12" Type="http://schemas.openxmlformats.org/officeDocument/2006/relationships/image" Target="../media/image12.jpeg"/><Relationship Id="rId2" Type="http://schemas.microsoft.com/office/2007/relationships/media" Target="../media/media6.m4a"/><Relationship Id="rId1" Type="http://schemas.openxmlformats.org/officeDocument/2006/relationships/tags" Target="../tags/tag18.xml"/><Relationship Id="rId6" Type="http://schemas.openxmlformats.org/officeDocument/2006/relationships/tags" Target="../tags/tag21.xml"/><Relationship Id="rId11" Type="http://schemas.openxmlformats.org/officeDocument/2006/relationships/image" Target="../media/image11.jpeg"/><Relationship Id="rId5" Type="http://schemas.openxmlformats.org/officeDocument/2006/relationships/tags" Target="../tags/tag20.xml"/><Relationship Id="rId10" Type="http://schemas.openxmlformats.org/officeDocument/2006/relationships/image" Target="../media/image10.jpeg"/><Relationship Id="rId4" Type="http://schemas.openxmlformats.org/officeDocument/2006/relationships/tags" Target="../tags/tag19.xml"/><Relationship Id="rId9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image" Target="../media/image13.jpeg"/><Relationship Id="rId18" Type="http://schemas.openxmlformats.org/officeDocument/2006/relationships/image" Target="../media/image3.png"/><Relationship Id="rId3" Type="http://schemas.openxmlformats.org/officeDocument/2006/relationships/audio" Target="../media/media7.m4a"/><Relationship Id="rId7" Type="http://schemas.openxmlformats.org/officeDocument/2006/relationships/tags" Target="../tags/tag27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7.png"/><Relationship Id="rId2" Type="http://schemas.microsoft.com/office/2007/relationships/media" Target="../media/media7.m4a"/><Relationship Id="rId16" Type="http://schemas.openxmlformats.org/officeDocument/2006/relationships/image" Target="../media/image16.png"/><Relationship Id="rId1" Type="http://schemas.openxmlformats.org/officeDocument/2006/relationships/tags" Target="../tags/tag23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image" Target="../media/image15.jpeg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audio" Target="../media/media8.m4a"/><Relationship Id="rId2" Type="http://schemas.microsoft.com/office/2007/relationships/media" Target="../media/media8.m4a"/><Relationship Id="rId1" Type="http://schemas.openxmlformats.org/officeDocument/2006/relationships/tags" Target="../tags/tag32.xml"/><Relationship Id="rId6" Type="http://schemas.openxmlformats.org/officeDocument/2006/relationships/image" Target="../media/image3.png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audio" Target="../media/media9.m4a"/><Relationship Id="rId7" Type="http://schemas.openxmlformats.org/officeDocument/2006/relationships/image" Target="../media/image19.png"/><Relationship Id="rId2" Type="http://schemas.microsoft.com/office/2007/relationships/media" Target="../media/media9.m4a"/><Relationship Id="rId1" Type="http://schemas.openxmlformats.org/officeDocument/2006/relationships/tags" Target="../tags/tag33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rường Đại học Trà Vinh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5" y="0"/>
            <a:ext cx="12192000" cy="6858000"/>
          </a:xfrm>
          <a:prstGeom prst="rect">
            <a:avLst/>
          </a:prstGeom>
        </p:spPr>
      </p:pic>
      <p:sp>
        <p:nvSpPr>
          <p:cNvPr id="2" name="Rectangle 7"/>
          <p:cNvSpPr/>
          <p:nvPr/>
        </p:nvSpPr>
        <p:spPr>
          <a:xfrm>
            <a:off x="635" y="0"/>
            <a:ext cx="12192000" cy="6858000"/>
          </a:xfrm>
          <a:prstGeom prst="rect">
            <a:avLst/>
          </a:prstGeom>
          <a:solidFill>
            <a:schemeClr val="tx1">
              <a:alpha val="3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400" dirty="0">
              <a:latin typeface="Arial Black" panose="020B0A04020102020204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0" y="0"/>
            <a:ext cx="12191365" cy="1593850"/>
            <a:chOff x="0" y="0"/>
            <a:chExt cx="19199" cy="2510"/>
          </a:xfrm>
        </p:grpSpPr>
        <p:pic>
          <p:nvPicPr>
            <p:cNvPr id="7" name="Picture 6"/>
            <p:cNvPicPr/>
            <p:nvPr/>
          </p:nvPicPr>
          <p:blipFill>
            <a:blip r:embed="rId6"/>
            <a:srcRect l="39121" t="24780" r="39499" b="37025"/>
            <a:stretch>
              <a:fillRect/>
            </a:stretch>
          </p:blipFill>
          <p:spPr>
            <a:xfrm>
              <a:off x="0" y="0"/>
              <a:ext cx="2605" cy="2511"/>
            </a:xfrm>
            <a:prstGeom prst="ellipse">
              <a:avLst/>
            </a:prstGeom>
          </p:spPr>
        </p:pic>
        <p:sp>
          <p:nvSpPr>
            <p:cNvPr id="8" name="Rounded Rectangle 7"/>
            <p:cNvSpPr/>
            <p:nvPr/>
          </p:nvSpPr>
          <p:spPr>
            <a:xfrm>
              <a:off x="2605" y="0"/>
              <a:ext cx="16595" cy="2511"/>
            </a:xfrm>
            <a:prstGeom prst="roundRect">
              <a:avLst/>
            </a:prstGeom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en-GB" sz="3200">
                  <a:latin typeface="Times New Roman" panose="02020603050405020304" charset="0"/>
                  <a:cs typeface="Times New Roman" panose="02020603050405020304" charset="0"/>
                </a:rPr>
                <a:t>TR</a:t>
              </a:r>
              <a:r>
                <a:rPr lang="en-US" altLang="en-US" sz="3200">
                  <a:latin typeface="Times New Roman" panose="02020603050405020304" charset="0"/>
                  <a:cs typeface="Times New Roman" panose="02020603050405020304" charset="0"/>
                </a:rPr>
                <a:t>Ư</a:t>
              </a:r>
              <a:r>
                <a:rPr lang="en-US" altLang="en-GB" sz="3200">
                  <a:latin typeface="Times New Roman" panose="02020603050405020304" charset="0"/>
                  <a:cs typeface="Times New Roman" panose="02020603050405020304" charset="0"/>
                </a:rPr>
                <a:t>ỜNG </a:t>
              </a:r>
              <a:r>
                <a:rPr lang="en-US" sz="3200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K</a:t>
              </a:r>
              <a:r>
                <a:rPr lang="en-US" altLang="en-GB" sz="3200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Ỹ THUẬT V</a:t>
              </a:r>
              <a:r>
                <a:rPr lang="en-US" altLang="en-US" sz="3200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À</a:t>
              </a:r>
              <a:r>
                <a:rPr lang="en-US" sz="3200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 C</a:t>
              </a:r>
              <a:r>
                <a:rPr lang="en-US" altLang="en-US" sz="3200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ÔNG NGH</a:t>
              </a:r>
              <a:r>
                <a:rPr lang="en-US" altLang="en-GB" sz="3200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Ệ</a:t>
              </a:r>
              <a:endParaRPr lang="en-US" altLang="en-GB" sz="3200">
                <a:latin typeface="Times New Roman" panose="02020603050405020304" charset="0"/>
                <a:cs typeface="Times New Roman" panose="02020603050405020304" charset="0"/>
              </a:endParaRPr>
            </a:p>
            <a:p>
              <a:pPr algn="ctr"/>
              <a:r>
                <a:rPr lang="en-US" sz="3200">
                  <a:latin typeface="Times New Roman" panose="02020603050405020304" charset="0"/>
                  <a:cs typeface="Times New Roman" panose="02020603050405020304" charset="0"/>
                </a:rPr>
                <a:t>KHOA </a:t>
              </a:r>
              <a:r>
                <a:rPr lang="en-US" altLang="en-US" sz="3200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CÔNG NGH</a:t>
              </a:r>
              <a:r>
                <a:rPr lang="en-US" altLang="en-GB" sz="3200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Ệ TH</a:t>
              </a:r>
              <a:r>
                <a:rPr lang="en-US" altLang="en-US" sz="3200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ÔNG TIN</a:t>
              </a:r>
            </a:p>
            <a:p>
              <a:pPr algn="ctr"/>
              <a:r>
                <a:rPr lang="en-US" altLang="en-GB" sz="3200">
                  <a:latin typeface="Times New Roman" panose="02020603050405020304" charset="0"/>
                  <a:cs typeface="Times New Roman" panose="02020603050405020304" charset="0"/>
                </a:rPr>
                <a:t>LỚP DT23TTK10</a:t>
              </a:r>
            </a:p>
          </p:txBody>
        </p:sp>
      </p:grpSp>
      <p:sp>
        <p:nvSpPr>
          <p:cNvPr id="4" name="Text Box 3"/>
          <p:cNvSpPr txBox="1"/>
          <p:nvPr/>
        </p:nvSpPr>
        <p:spPr>
          <a:xfrm>
            <a:off x="0" y="1993265"/>
            <a:ext cx="12192635" cy="5009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altLang="en-US" sz="3600" dirty="0">
              <a:latin typeface="Times New Roman" panose="02020603050405020304" charset="0"/>
              <a:cs typeface="Times New Roman" panose="02020603050405020304" charset="0"/>
            </a:endParaRPr>
          </a:p>
          <a:p>
            <a:pPr algn="ctr">
              <a:lnSpc>
                <a:spcPct val="40000"/>
              </a:lnSpc>
            </a:pPr>
            <a:r>
              <a:rPr lang="en-US" altLang="en-US" sz="4400" b="1" dirty="0">
                <a:ln>
                  <a:solidFill>
                    <a:srgbClr val="FFFF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Đ</a:t>
            </a:r>
            <a:r>
              <a:rPr lang="en-US" altLang="en-GB" sz="4400" b="1" dirty="0">
                <a:ln>
                  <a:solidFill>
                    <a:srgbClr val="FFFF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Ồ </a:t>
            </a:r>
            <a:r>
              <a:rPr lang="en-US" altLang="en-US" sz="4400" b="1" dirty="0">
                <a:ln>
                  <a:solidFill>
                    <a:srgbClr val="FFFF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Á</a:t>
            </a:r>
            <a:r>
              <a:rPr lang="en-US" altLang="en-GB" sz="4400" b="1" dirty="0">
                <a:ln>
                  <a:solidFill>
                    <a:srgbClr val="FFFF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N M</a:t>
            </a:r>
            <a:r>
              <a:rPr lang="en-US" altLang="en-US" sz="4400" b="1" dirty="0">
                <a:ln>
                  <a:solidFill>
                    <a:srgbClr val="FFFF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ÔN H</a:t>
            </a:r>
            <a:r>
              <a:rPr lang="en-US" altLang="en-GB" sz="4400" b="1" dirty="0">
                <a:ln>
                  <a:solidFill>
                    <a:srgbClr val="FFFF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ỌC: CHUY</a:t>
            </a:r>
            <a:r>
              <a:rPr lang="en-US" altLang="en-US" sz="4400" b="1" dirty="0">
                <a:ln>
                  <a:solidFill>
                    <a:srgbClr val="FFFF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Ê</a:t>
            </a:r>
            <a:r>
              <a:rPr lang="en-US" sz="4400" b="1" dirty="0">
                <a:ln>
                  <a:solidFill>
                    <a:srgbClr val="FFFF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N </a:t>
            </a:r>
            <a:r>
              <a:rPr lang="en-US" altLang="en-US" sz="4400" b="1" dirty="0">
                <a:ln>
                  <a:solidFill>
                    <a:srgbClr val="FFFF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Đ</a:t>
            </a:r>
            <a:r>
              <a:rPr lang="en-US" altLang="en-GB" sz="4400" b="1" dirty="0">
                <a:ln>
                  <a:solidFill>
                    <a:srgbClr val="FFFF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Ề ASP.NET</a:t>
            </a:r>
          </a:p>
          <a:p>
            <a:pPr algn="ctr"/>
            <a:r>
              <a:rPr lang="en-US" altLang="en-GB" sz="4400" b="1" dirty="0">
                <a:ln>
                  <a:solidFill>
                    <a:srgbClr val="FFFF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XÂY DỰNG WEBSITE B</a:t>
            </a:r>
            <a:r>
              <a:rPr lang="en-US" altLang="en-US" sz="4400" b="1" dirty="0">
                <a:ln>
                  <a:solidFill>
                    <a:srgbClr val="FFFF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Á</a:t>
            </a:r>
            <a:r>
              <a:rPr lang="en-US" altLang="en-GB" sz="4400" b="1" dirty="0">
                <a:ln>
                  <a:solidFill>
                    <a:srgbClr val="FFFF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N GI</a:t>
            </a:r>
            <a:r>
              <a:rPr lang="en-US" altLang="en-US" sz="4400" b="1" dirty="0">
                <a:ln>
                  <a:solidFill>
                    <a:srgbClr val="FFFF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À</a:t>
            </a:r>
            <a:r>
              <a:rPr lang="en-US" altLang="en-GB" sz="4400" b="1" dirty="0">
                <a:ln>
                  <a:solidFill>
                    <a:srgbClr val="FFFF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Y</a:t>
            </a:r>
            <a:endParaRPr lang="en-US" altLang="en-GB" sz="4400" b="1" dirty="0">
              <a:ln>
                <a:solidFill>
                  <a:srgbClr val="FFFF00"/>
                </a:solidFill>
              </a:ln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3000" endA="300" endPos="35500" dir="5400000" sy="-90000" algn="bl" rotWithShape="0"/>
              </a:effectLst>
              <a:latin typeface="Times New Roman" panose="02020603050405020304" charset="0"/>
              <a:cs typeface="Times New Roman" panose="02020603050405020304" charset="0"/>
            </a:endParaRPr>
          </a:p>
          <a:p>
            <a:pPr algn="ctr"/>
            <a:endParaRPr lang="en-US" altLang="en-GB" sz="3600" dirty="0">
              <a:latin typeface="Times New Roman" panose="02020603050405020304" charset="0"/>
              <a:cs typeface="Times New Roman" panose="02020603050405020304" charset="0"/>
            </a:endParaRPr>
          </a:p>
          <a:p>
            <a:pPr algn="ctr"/>
            <a:endParaRPr lang="en-US" altLang="en-GB" sz="1400" dirty="0">
              <a:latin typeface="Times New Roman" panose="02020603050405020304" charset="0"/>
              <a:cs typeface="Times New Roman" panose="02020603050405020304" charset="0"/>
            </a:endParaRPr>
          </a:p>
          <a:p>
            <a:pPr indent="457200" algn="l"/>
            <a:r>
              <a:rPr lang="en-US" altLang="en-GB" sz="2000" b="1" i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Giảng</a:t>
            </a:r>
            <a:r>
              <a:rPr lang="en-US" altLang="en-GB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 </a:t>
            </a:r>
            <a:r>
              <a:rPr lang="en-US" altLang="en-GB" sz="2000" b="1" i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vi</a:t>
            </a:r>
            <a:r>
              <a:rPr lang="en-US" altLang="en-US" sz="2000" b="1" i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ên</a:t>
            </a:r>
            <a:r>
              <a:rPr lang="en-US" altLang="en-US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 </a:t>
            </a:r>
            <a:r>
              <a:rPr lang="en-US" altLang="en-US" sz="2000" b="1" i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hư</a:t>
            </a:r>
            <a:r>
              <a:rPr lang="en-US" altLang="en-GB" sz="2000" b="1" i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ớng</a:t>
            </a:r>
            <a:r>
              <a:rPr lang="en-US" altLang="en-GB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 </a:t>
            </a:r>
            <a:r>
              <a:rPr lang="en-US" altLang="en-GB" sz="2000" b="1" i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dẫn</a:t>
            </a:r>
            <a:r>
              <a:rPr lang="en-US" altLang="en-GB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: TS. Nguyễn </a:t>
            </a:r>
            <a:r>
              <a:rPr lang="en-US" altLang="en-GB" sz="2000" b="1" i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Nhứt</a:t>
            </a:r>
            <a:r>
              <a:rPr lang="en-US" altLang="en-GB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 Lam			</a:t>
            </a:r>
            <a:r>
              <a:rPr lang="en-US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Sinh </a:t>
            </a:r>
            <a:r>
              <a:rPr lang="en-US" sz="2000" b="1" i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vi</a:t>
            </a:r>
            <a:r>
              <a:rPr lang="en-US" altLang="en-US" sz="2000" b="1" i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ên</a:t>
            </a:r>
            <a:r>
              <a:rPr lang="en-US" altLang="en-US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 </a:t>
            </a:r>
            <a:r>
              <a:rPr lang="en-US" altLang="en-GB" sz="2000" b="1" i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thực</a:t>
            </a:r>
            <a:r>
              <a:rPr lang="en-US" altLang="en-GB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 </a:t>
            </a:r>
            <a:r>
              <a:rPr lang="en-US" altLang="en-GB" sz="2000" b="1" i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hiện</a:t>
            </a:r>
            <a:r>
              <a:rPr lang="en-US" altLang="en-GB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: V</a:t>
            </a:r>
            <a:r>
              <a:rPr lang="en-US" altLang="en-US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õ</a:t>
            </a:r>
            <a:r>
              <a:rPr lang="en-US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 Quang Th</a:t>
            </a:r>
            <a:r>
              <a:rPr lang="en-US" altLang="en-GB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ịnh</a:t>
            </a:r>
          </a:p>
          <a:p>
            <a:pPr indent="457200" algn="l"/>
            <a:r>
              <a:rPr lang="en-US" altLang="en-GB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  <a:sym typeface="+mn-ea"/>
              </a:rPr>
              <a:t>								</a:t>
            </a:r>
            <a:r>
              <a:rPr lang="en-US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  <a:sym typeface="+mn-ea"/>
              </a:rPr>
              <a:t>M</a:t>
            </a:r>
            <a:r>
              <a:rPr lang="en-US" altLang="en-GB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  <a:sym typeface="+mn-ea"/>
              </a:rPr>
              <a:t>SSV: 170123282</a:t>
            </a:r>
            <a:endParaRPr lang="en-US" altLang="en-GB" sz="2000" b="1" i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charset="0"/>
              <a:cs typeface="Times New Roman" panose="02020603050405020304" charset="0"/>
            </a:endParaRPr>
          </a:p>
          <a:p>
            <a:pPr indent="457200" algn="l"/>
            <a:r>
              <a:rPr lang="en-US" altLang="en-GB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  <a:sym typeface="+mn-ea"/>
              </a:rPr>
              <a:t>								</a:t>
            </a:r>
            <a:r>
              <a:rPr lang="en-US" sz="2000" b="1" i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  <a:sym typeface="+mn-ea"/>
              </a:rPr>
              <a:t>L</a:t>
            </a:r>
            <a:r>
              <a:rPr lang="en-US" altLang="en-GB" sz="2000" b="1" i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  <a:sym typeface="+mn-ea"/>
              </a:rPr>
              <a:t>ớp</a:t>
            </a:r>
            <a:r>
              <a:rPr lang="en-US" altLang="en-GB" sz="20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  <a:sym typeface="+mn-ea"/>
              </a:rPr>
              <a:t>: DT23TTK10</a:t>
            </a:r>
            <a:endParaRPr lang="en-US" altLang="en-GB" sz="2000" i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charset="0"/>
              <a:cs typeface="Times New Roman" panose="02020603050405020304" charset="0"/>
              <a:sym typeface="+mn-ea"/>
            </a:endParaRPr>
          </a:p>
          <a:p>
            <a:pPr indent="0" algn="ctr"/>
            <a:endParaRPr lang="en-US" altLang="en-GB" sz="1600" dirty="0">
              <a:solidFill>
                <a:srgbClr val="FFFF00"/>
              </a:solidFill>
              <a:effectLst/>
              <a:latin typeface="Times New Roman" panose="02020603050405020304" charset="0"/>
              <a:cs typeface="Times New Roman" panose="02020603050405020304" charset="0"/>
              <a:sym typeface="+mn-ea"/>
            </a:endParaRPr>
          </a:p>
          <a:p>
            <a:pPr indent="0" algn="ctr"/>
            <a:endParaRPr lang="en-US" altLang="en-GB" sz="1600" dirty="0">
              <a:solidFill>
                <a:srgbClr val="FFFF00"/>
              </a:solidFill>
              <a:effectLst/>
              <a:latin typeface="Times New Roman" panose="02020603050405020304" charset="0"/>
              <a:cs typeface="Times New Roman" panose="02020603050405020304" charset="0"/>
              <a:sym typeface="+mn-ea"/>
            </a:endParaRPr>
          </a:p>
          <a:p>
            <a:pPr indent="0" algn="ctr"/>
            <a:endParaRPr lang="en-US" altLang="en-GB" sz="1600" dirty="0">
              <a:solidFill>
                <a:srgbClr val="FFFF00"/>
              </a:solidFill>
              <a:effectLst/>
              <a:latin typeface="Times New Roman" panose="02020603050405020304" charset="0"/>
              <a:cs typeface="Times New Roman" panose="02020603050405020304" charset="0"/>
              <a:sym typeface="+mn-ea"/>
            </a:endParaRPr>
          </a:p>
          <a:p>
            <a:pPr indent="0" algn="ctr"/>
            <a:endParaRPr lang="en-US" altLang="en-GB" sz="1600" dirty="0">
              <a:solidFill>
                <a:srgbClr val="FFFF00"/>
              </a:solidFill>
              <a:effectLst/>
              <a:latin typeface="Times New Roman" panose="02020603050405020304" charset="0"/>
              <a:cs typeface="Times New Roman" panose="02020603050405020304" charset="0"/>
              <a:sym typeface="+mn-ea"/>
            </a:endParaRPr>
          </a:p>
          <a:p>
            <a:pPr indent="0" algn="ctr"/>
            <a:r>
              <a:rPr lang="en-US" altLang="en-GB" sz="2000" i="1" dirty="0" err="1">
                <a:solidFill>
                  <a:srgbClr val="FFFF00"/>
                </a:solidFill>
                <a:effectLst/>
                <a:latin typeface="Times New Roman" panose="02020603050405020304" charset="0"/>
                <a:cs typeface="Times New Roman" panose="02020603050405020304" charset="0"/>
                <a:sym typeface="+mn-ea"/>
              </a:rPr>
              <a:t>V</a:t>
            </a:r>
            <a:r>
              <a:rPr lang="en-US" altLang="en-US" sz="2000" i="1" dirty="0" err="1">
                <a:solidFill>
                  <a:srgbClr val="FFFF00"/>
                </a:solidFill>
                <a:effectLst/>
                <a:latin typeface="Times New Roman" panose="02020603050405020304" charset="0"/>
                <a:cs typeface="Times New Roman" panose="02020603050405020304" charset="0"/>
              </a:rPr>
              <a:t>ĩ</a:t>
            </a:r>
            <a:r>
              <a:rPr lang="en-US" altLang="en-GB" sz="2000" i="1" dirty="0" err="1">
                <a:solidFill>
                  <a:srgbClr val="FFFF00"/>
                </a:solidFill>
                <a:effectLst/>
                <a:latin typeface="Times New Roman" panose="02020603050405020304" charset="0"/>
                <a:cs typeface="Times New Roman" panose="02020603050405020304" charset="0"/>
              </a:rPr>
              <a:t>nh</a:t>
            </a:r>
            <a:r>
              <a:rPr lang="en-US" altLang="en-GB" sz="2000" i="1" dirty="0">
                <a:solidFill>
                  <a:srgbClr val="FFFF00"/>
                </a:solidFill>
                <a:effectLst/>
                <a:latin typeface="Times New Roman" panose="02020603050405020304" charset="0"/>
                <a:cs typeface="Times New Roman" panose="02020603050405020304" charset="0"/>
              </a:rPr>
              <a:t> Long, </a:t>
            </a:r>
            <a:r>
              <a:rPr lang="en-US" altLang="en-GB" sz="2000" i="1" dirty="0" err="1">
                <a:solidFill>
                  <a:srgbClr val="FFFF00"/>
                </a:solidFill>
                <a:effectLst/>
                <a:latin typeface="Times New Roman" panose="02020603050405020304" charset="0"/>
                <a:cs typeface="Times New Roman" panose="02020603050405020304" charset="0"/>
              </a:rPr>
              <a:t>th</a:t>
            </a:r>
            <a:r>
              <a:rPr lang="en-US" altLang="en-US" sz="2000" i="1" dirty="0" err="1">
                <a:solidFill>
                  <a:srgbClr val="FFFF00"/>
                </a:solidFill>
                <a:effectLst/>
                <a:latin typeface="Times New Roman" panose="02020603050405020304" charset="0"/>
                <a:cs typeface="Times New Roman" panose="02020603050405020304" charset="0"/>
              </a:rPr>
              <a:t>á</a:t>
            </a:r>
            <a:r>
              <a:rPr lang="en-US" altLang="en-GB" sz="2000" i="1" dirty="0" err="1">
                <a:solidFill>
                  <a:srgbClr val="FFFF00"/>
                </a:solidFill>
                <a:effectLst/>
                <a:latin typeface="Times New Roman" panose="02020603050405020304" charset="0"/>
                <a:cs typeface="Times New Roman" panose="02020603050405020304" charset="0"/>
              </a:rPr>
              <a:t>ng</a:t>
            </a:r>
            <a:r>
              <a:rPr lang="en-US" altLang="en-GB" sz="2000" i="1" dirty="0">
                <a:solidFill>
                  <a:srgbClr val="FFFF00"/>
                </a:solidFill>
                <a:effectLst/>
                <a:latin typeface="Times New Roman" panose="02020603050405020304" charset="0"/>
                <a:cs typeface="Times New Roman" panose="02020603050405020304" charset="0"/>
              </a:rPr>
              <a:t> 10 </a:t>
            </a:r>
            <a:r>
              <a:rPr lang="en-US" altLang="en-GB" sz="2000" i="1" dirty="0" err="1">
                <a:solidFill>
                  <a:srgbClr val="FFFF00"/>
                </a:solidFill>
                <a:effectLst/>
                <a:latin typeface="Times New Roman" panose="02020603050405020304" charset="0"/>
                <a:cs typeface="Times New Roman" panose="02020603050405020304" charset="0"/>
              </a:rPr>
              <a:t>n</a:t>
            </a:r>
            <a:r>
              <a:rPr lang="en-US" altLang="en-US" sz="2000" i="1" dirty="0" err="1">
                <a:solidFill>
                  <a:srgbClr val="FFFF00"/>
                </a:solidFill>
                <a:effectLst/>
                <a:latin typeface="Times New Roman" panose="02020603050405020304" charset="0"/>
                <a:cs typeface="Times New Roman" panose="02020603050405020304" charset="0"/>
              </a:rPr>
              <a:t>ă</a:t>
            </a:r>
            <a:r>
              <a:rPr lang="en-US" altLang="en-GB" sz="2000" i="1" dirty="0" err="1">
                <a:solidFill>
                  <a:srgbClr val="FFFF00"/>
                </a:solidFill>
                <a:effectLst/>
                <a:latin typeface="Times New Roman" panose="02020603050405020304" charset="0"/>
                <a:cs typeface="Times New Roman" panose="02020603050405020304" charset="0"/>
              </a:rPr>
              <a:t>m</a:t>
            </a:r>
            <a:r>
              <a:rPr lang="en-US" altLang="en-GB" sz="2000" i="1" dirty="0">
                <a:solidFill>
                  <a:srgbClr val="FFFF00"/>
                </a:solidFill>
                <a:effectLst/>
                <a:latin typeface="Times New Roman" panose="02020603050405020304" charset="0"/>
                <a:cs typeface="Times New Roman" panose="02020603050405020304" charset="0"/>
              </a:rPr>
              <a:t> 2025</a:t>
            </a:r>
            <a:endParaRPr lang="en-US" altLang="en-GB" sz="2000" dirty="0">
              <a:solidFill>
                <a:srgbClr val="FFFF00"/>
              </a:solidFill>
              <a:effectLst/>
              <a:latin typeface="Times New Roman" panose="02020603050405020304" charset="0"/>
              <a:cs typeface="Times New Roman" panose="02020603050405020304" charset="0"/>
            </a:endParaRPr>
          </a:p>
          <a:p>
            <a:pPr indent="457200" algn="l"/>
            <a:endParaRPr lang="en-US" altLang="en-GB" sz="1400" dirty="0">
              <a:solidFill>
                <a:schemeClr val="accent4">
                  <a:lumMod val="60000"/>
                  <a:lumOff val="40000"/>
                </a:schemeClr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algn="l"/>
            <a:endParaRPr lang="en-US" altLang="en-GB" sz="1400" dirty="0">
              <a:solidFill>
                <a:schemeClr val="accent4">
                  <a:lumMod val="60000"/>
                  <a:lumOff val="40000"/>
                </a:schemeClr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  <p:pic>
        <p:nvPicPr>
          <p:cNvPr id="5" name="Audio 4">
            <a:hlinkClick r:id="" action="ppaction://media"/>
            <a:extLst>
              <a:ext uri="{FF2B5EF4-FFF2-40B4-BE49-F238E27FC236}">
                <a16:creationId xmlns:a16="http://schemas.microsoft.com/office/drawing/2014/main" id="{8C897085-E23B-D5D5-228C-F4A131A1F70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9756"/>
    </mc:Choice>
    <mc:Fallback>
      <p:transition spd="slow" advTm="1975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7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7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  <p:bldLst>
      <p:bldP spid="4" grpId="0"/>
      <p:bldP spid="4" grpId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13995" y="1294130"/>
            <a:ext cx="5762625" cy="5166360"/>
            <a:chOff x="337" y="2038"/>
            <a:chExt cx="9075" cy="8130"/>
          </a:xfrm>
        </p:grpSpPr>
        <p:pic>
          <p:nvPicPr>
            <p:cNvPr id="1824899670" name="Picture 1" descr="A screenshot of a computer program&#10;&#10;AI-generated content may be incorrect.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37" y="2038"/>
              <a:ext cx="9075" cy="7014"/>
            </a:xfrm>
            <a:prstGeom prst="rect">
              <a:avLst/>
            </a:prstGeom>
          </p:spPr>
        </p:pic>
        <p:sp>
          <p:nvSpPr>
            <p:cNvPr id="4" name="Text Box 3"/>
            <p:cNvSpPr txBox="1"/>
            <p:nvPr/>
          </p:nvSpPr>
          <p:spPr>
            <a:xfrm>
              <a:off x="337" y="9540"/>
              <a:ext cx="9075" cy="6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66700">
                <a:spcBef>
                  <a:spcPts val="600"/>
                </a:spcBef>
                <a:spcAft>
                  <a:spcPts val="600"/>
                </a:spcAft>
              </a:pPr>
              <a:r>
                <a:rPr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Xử lý chức năng đăng nhập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6120130" y="1294130"/>
            <a:ext cx="5761990" cy="5166995"/>
            <a:chOff x="9638" y="2038"/>
            <a:chExt cx="9074" cy="8137"/>
          </a:xfrm>
        </p:grpSpPr>
        <p:pic>
          <p:nvPicPr>
            <p:cNvPr id="1522679520" name="Picture 1" descr="A screenshot of a computer code&#10;&#10;AI-generated content may be incorrect.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638" y="2038"/>
              <a:ext cx="9075" cy="7014"/>
            </a:xfrm>
            <a:prstGeom prst="rect">
              <a:avLst/>
            </a:prstGeom>
          </p:spPr>
        </p:pic>
        <p:sp>
          <p:nvSpPr>
            <p:cNvPr id="8" name="Text Box 7"/>
            <p:cNvSpPr txBox="1"/>
            <p:nvPr/>
          </p:nvSpPr>
          <p:spPr>
            <a:xfrm>
              <a:off x="9638" y="9547"/>
              <a:ext cx="9075" cy="6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66700">
                <a:spcBef>
                  <a:spcPts val="600"/>
                </a:spcBef>
                <a:spcAft>
                  <a:spcPts val="600"/>
                </a:spcAft>
              </a:pPr>
              <a:r>
                <a:rPr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Xử lý chức năng đăng </a:t>
              </a:r>
              <a:r>
                <a:rPr 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k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ý</a:t>
              </a:r>
            </a:p>
          </p:txBody>
        </p:sp>
      </p:grpSp>
      <p:sp>
        <p:nvSpPr>
          <p:cNvPr id="9" name="Rounded Rectangle 8"/>
          <p:cNvSpPr/>
          <p:nvPr/>
        </p:nvSpPr>
        <p:spPr>
          <a:xfrm>
            <a:off x="61595" y="98425"/>
            <a:ext cx="12063730" cy="88138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C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G 4: KẾT QUẢ NGHI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Ê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 CỨU</a:t>
            </a:r>
          </a:p>
        </p:txBody>
      </p:sp>
      <p:pic>
        <p:nvPicPr>
          <p:cNvPr id="10" name="Audio 9">
            <a:hlinkClick r:id="" action="ppaction://media"/>
            <a:extLst>
              <a:ext uri="{FF2B5EF4-FFF2-40B4-BE49-F238E27FC236}">
                <a16:creationId xmlns:a16="http://schemas.microsoft.com/office/drawing/2014/main" id="{E296F853-E1BF-01D9-18B0-CCD0C2239591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 advTm="7174">
        <p14:prism dir="r"/>
      </p:transition>
    </mc:Choice>
    <mc:Fallback>
      <p:transition spd="slow" advTm="717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213995" y="1378585"/>
            <a:ext cx="5761990" cy="5431155"/>
            <a:chOff x="337" y="2171"/>
            <a:chExt cx="9074" cy="8553"/>
          </a:xfrm>
        </p:grpSpPr>
        <p:sp>
          <p:nvSpPr>
            <p:cNvPr id="4" name="Text Box 3"/>
            <p:cNvSpPr txBox="1"/>
            <p:nvPr/>
          </p:nvSpPr>
          <p:spPr>
            <a:xfrm>
              <a:off x="337" y="9370"/>
              <a:ext cx="9075" cy="13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66700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Xử l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ý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 chức n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ă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ng hiển thị danh s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á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ch sản phẩm </a:t>
              </a:r>
            </a:p>
            <a:p>
              <a:pPr algn="ctr" defTabSz="266700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và t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ì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m kiếm sản phẩm</a:t>
              </a:r>
            </a:p>
          </p:txBody>
        </p:sp>
        <p:pic>
          <p:nvPicPr>
            <p:cNvPr id="1536038179" name="Picture 1" descr="A screen shot of a computer code&#10;&#10;AI-generated content may be incorrect.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37" y="2171"/>
              <a:ext cx="9075" cy="6768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/>
        </p:nvGrpSpPr>
        <p:grpSpPr>
          <a:xfrm>
            <a:off x="6244590" y="1377950"/>
            <a:ext cx="5761990" cy="4970780"/>
            <a:chOff x="9834" y="2170"/>
            <a:chExt cx="9074" cy="7828"/>
          </a:xfrm>
        </p:grpSpPr>
        <p:sp>
          <p:nvSpPr>
            <p:cNvPr id="8" name="Text Box 7"/>
            <p:cNvSpPr txBox="1"/>
            <p:nvPr/>
          </p:nvSpPr>
          <p:spPr>
            <a:xfrm>
              <a:off x="9834" y="9370"/>
              <a:ext cx="9074" cy="6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66700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Xử l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ý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 chức n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ă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ng th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ê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m sản phẩm vào giỏ hàng</a:t>
              </a:r>
            </a:p>
          </p:txBody>
        </p:sp>
        <p:pic>
          <p:nvPicPr>
            <p:cNvPr id="752302146" name="Picture 1" descr="A computer screen shot of a code&#10;&#10;AI-generated content may be incorrect.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834" y="2170"/>
              <a:ext cx="9075" cy="6769"/>
            </a:xfrm>
            <a:prstGeom prst="rect">
              <a:avLst/>
            </a:prstGeom>
          </p:spPr>
        </p:pic>
      </p:grpSp>
      <p:sp>
        <p:nvSpPr>
          <p:cNvPr id="5" name="Rounded Rectangle 4"/>
          <p:cNvSpPr/>
          <p:nvPr/>
        </p:nvSpPr>
        <p:spPr>
          <a:xfrm>
            <a:off x="61595" y="98425"/>
            <a:ext cx="12063730" cy="88138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C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G 4: KẾT QUẢ NGHI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Ê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 CỨU</a:t>
            </a:r>
          </a:p>
        </p:txBody>
      </p:sp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24BE7C1D-99AE-84D7-BAEF-93C86581C69C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 advTm="7975">
        <p14:prism dir="d"/>
      </p:transition>
    </mc:Choice>
    <mc:Fallback>
      <p:transition spd="slow" advTm="797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12420" y="1354455"/>
            <a:ext cx="5691505" cy="5106034"/>
            <a:chOff x="337" y="2135"/>
            <a:chExt cx="8963" cy="8032"/>
          </a:xfrm>
        </p:grpSpPr>
        <p:sp>
          <p:nvSpPr>
            <p:cNvPr id="4" name="Text Box 3"/>
            <p:cNvSpPr txBox="1"/>
            <p:nvPr/>
          </p:nvSpPr>
          <p:spPr>
            <a:xfrm>
              <a:off x="337" y="9540"/>
              <a:ext cx="8963" cy="6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66700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Xử l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ý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 chức n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ă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ng cập nhật số l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ư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ợng trong giỏ hàng</a:t>
              </a:r>
            </a:p>
          </p:txBody>
        </p:sp>
        <p:pic>
          <p:nvPicPr>
            <p:cNvPr id="829640025" name="Picture 1" descr="A computer code with text&#10;&#10;AI-generated content may be incorrect.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37" y="2135"/>
              <a:ext cx="8963" cy="6542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6120130" y="1355090"/>
            <a:ext cx="5692140" cy="5106035"/>
            <a:chOff x="9638" y="2134"/>
            <a:chExt cx="8964" cy="8041"/>
          </a:xfrm>
        </p:grpSpPr>
        <p:sp>
          <p:nvSpPr>
            <p:cNvPr id="8" name="Text Box 7"/>
            <p:cNvSpPr txBox="1"/>
            <p:nvPr/>
          </p:nvSpPr>
          <p:spPr>
            <a:xfrm>
              <a:off x="9638" y="9547"/>
              <a:ext cx="8964" cy="6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66700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Xử l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ý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 chức n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ă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ng x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ó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a sản phẩm trong giỏ hàng</a:t>
              </a:r>
            </a:p>
          </p:txBody>
        </p:sp>
        <p:pic>
          <p:nvPicPr>
            <p:cNvPr id="1585161337" name="Picture 1" descr="A computer code on a white background&#10;&#10;AI-generated content may be incorrect.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638" y="2134"/>
              <a:ext cx="8963" cy="6544"/>
            </a:xfrm>
            <a:prstGeom prst="rect">
              <a:avLst/>
            </a:prstGeom>
          </p:spPr>
        </p:pic>
      </p:grpSp>
      <p:sp>
        <p:nvSpPr>
          <p:cNvPr id="2" name="Rounded Rectangle 1"/>
          <p:cNvSpPr/>
          <p:nvPr/>
        </p:nvSpPr>
        <p:spPr>
          <a:xfrm>
            <a:off x="61595" y="98425"/>
            <a:ext cx="12063730" cy="88138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C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G 4: KẾT QUẢ NGHI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Ê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 CỨU</a:t>
            </a:r>
          </a:p>
        </p:txBody>
      </p:sp>
      <p:pic>
        <p:nvPicPr>
          <p:cNvPr id="11" name="Audio 10">
            <a:hlinkClick r:id="" action="ppaction://media"/>
            <a:extLst>
              <a:ext uri="{FF2B5EF4-FFF2-40B4-BE49-F238E27FC236}">
                <a16:creationId xmlns:a16="http://schemas.microsoft.com/office/drawing/2014/main" id="{08FCCD46-61E4-652D-7194-2959A5BF052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 advTm="6914">
        <p14:prism dir="u"/>
      </p:transition>
    </mc:Choice>
    <mc:Fallback>
      <p:transition spd="slow" advTm="691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4203700" y="1238885"/>
            <a:ext cx="7921625" cy="5604510"/>
            <a:chOff x="337" y="1951"/>
            <a:chExt cx="9301" cy="8687"/>
          </a:xfrm>
        </p:grpSpPr>
        <p:sp>
          <p:nvSpPr>
            <p:cNvPr id="4" name="Text Box 3"/>
            <p:cNvSpPr txBox="1"/>
            <p:nvPr/>
          </p:nvSpPr>
          <p:spPr>
            <a:xfrm>
              <a:off x="337" y="10020"/>
              <a:ext cx="8963" cy="6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66700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Màn h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ì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nh Trang chủ</a:t>
              </a:r>
            </a:p>
          </p:txBody>
        </p:sp>
        <p:pic>
          <p:nvPicPr>
            <p:cNvPr id="36" name="Picture 36" descr="1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68" y="1951"/>
              <a:ext cx="9070" cy="7901"/>
            </a:xfrm>
            <a:prstGeom prst="rect">
              <a:avLst/>
            </a:prstGeom>
          </p:spPr>
        </p:pic>
      </p:grpSp>
      <p:sp>
        <p:nvSpPr>
          <p:cNvPr id="5" name="Rounded Rectangle 4"/>
          <p:cNvSpPr/>
          <p:nvPr/>
        </p:nvSpPr>
        <p:spPr>
          <a:xfrm>
            <a:off x="61595" y="98425"/>
            <a:ext cx="12063730" cy="88138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C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G 5: KẾT LUẬN V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À</a:t>
            </a:r>
            <a:r>
              <a:rPr 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 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ỚNG P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T TRIỂN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61595" y="1520825"/>
            <a:ext cx="4143375" cy="4532630"/>
            <a:chOff x="97" y="2201"/>
            <a:chExt cx="6525" cy="7138"/>
          </a:xfrm>
        </p:grpSpPr>
        <p:sp>
          <p:nvSpPr>
            <p:cNvPr id="22" name="Rounded Rectangle 21"/>
            <p:cNvSpPr/>
            <p:nvPr>
              <p:custDataLst>
                <p:tags r:id="rId4"/>
              </p:custDataLst>
            </p:nvPr>
          </p:nvSpPr>
          <p:spPr>
            <a:xfrm>
              <a:off x="97" y="2201"/>
              <a:ext cx="1753" cy="7109"/>
            </a:xfrm>
            <a:prstGeom prst="roundRect">
              <a:avLst/>
            </a:prstGeom>
            <a:ln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4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C</a:t>
              </a:r>
              <a:r>
                <a:rPr lang="en-US" altLang="en-US" sz="24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á</a:t>
              </a:r>
              <a:r>
                <a:rPr lang="en-US" altLang="en-GB" sz="24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c chức n</a:t>
              </a:r>
              <a:r>
                <a:rPr lang="en-US" altLang="en-US" sz="24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ă</a:t>
              </a:r>
              <a:r>
                <a:rPr lang="en-US" altLang="en-GB" sz="24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ng </a:t>
              </a:r>
              <a:r>
                <a:rPr lang="en-US" altLang="en-US" sz="24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đã</a:t>
              </a:r>
              <a:r>
                <a:rPr lang="en-US" altLang="en-GB" sz="24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 hoàn thành</a:t>
              </a:r>
            </a:p>
          </p:txBody>
        </p:sp>
        <p:grpSp>
          <p:nvGrpSpPr>
            <p:cNvPr id="7" name="Group 6"/>
            <p:cNvGrpSpPr/>
            <p:nvPr>
              <p:custDataLst>
                <p:tags r:id="rId5"/>
              </p:custDataLst>
            </p:nvPr>
          </p:nvGrpSpPr>
          <p:grpSpPr>
            <a:xfrm>
              <a:off x="1850" y="2201"/>
              <a:ext cx="4772" cy="1178"/>
              <a:chOff x="1462" y="2201"/>
              <a:chExt cx="7437" cy="1820"/>
            </a:xfrm>
          </p:grpSpPr>
          <p:sp>
            <p:nvSpPr>
              <p:cNvPr id="25" name="Rounded Rectangle 24"/>
              <p:cNvSpPr/>
              <p:nvPr>
                <p:custDataLst>
                  <p:tags r:id="rId16"/>
                </p:custDataLst>
              </p:nvPr>
            </p:nvSpPr>
            <p:spPr>
              <a:xfrm>
                <a:off x="2069" y="2201"/>
                <a:ext cx="6830" cy="1820"/>
              </a:xfrm>
              <a:prstGeom prst="roundRect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2">
                <a:schemeClr val="accent1"/>
              </a:lnRef>
              <a:fillRef idx="0">
                <a:srgbClr val="FFFFFF"/>
              </a:fillRef>
              <a:effectRef idx="0">
                <a:srgbClr val="FFFFFF"/>
              </a:effectRef>
              <a:fontRef idx="minor">
                <a:schemeClr val="tx1"/>
              </a:fontRef>
            </p:style>
            <p:txBody>
              <a:bodyPr rtlCol="0" anchor="t" anchorCtr="0"/>
              <a:lstStyle/>
              <a:p>
                <a:pPr algn="just">
                  <a:lnSpc>
                    <a:spcPct val="100000"/>
                  </a:lnSpc>
                </a:pPr>
                <a:r>
                  <a:rPr lang="en-US" altLang="en-GB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Chức n</a:t>
                </a:r>
                <a:r>
                  <a:rPr lang="en-US" altLang="en-US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ă</a:t>
                </a:r>
                <a:r>
                  <a:rPr lang="en-US" altLang="en-GB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ng </a:t>
                </a:r>
                <a:r>
                  <a:rPr lang="en-US" altLang="en-US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đă</a:t>
                </a:r>
                <a:r>
                  <a:rPr lang="en-US" altLang="en-GB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ng k</a:t>
                </a:r>
                <a:r>
                  <a:rPr lang="en-US" altLang="en-US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ý</a:t>
                </a:r>
                <a:r>
                  <a:rPr lang="en-US" altLang="en-GB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 </a:t>
                </a:r>
              </a:p>
              <a:p>
                <a:pPr algn="just">
                  <a:lnSpc>
                    <a:spcPct val="100000"/>
                  </a:lnSpc>
                </a:pPr>
                <a:r>
                  <a:rPr lang="en-US" altLang="en-GB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tài khoản</a:t>
                </a:r>
              </a:p>
            </p:txBody>
          </p:sp>
          <p:sp>
            <p:nvSpPr>
              <p:cNvPr id="27" name="Right Arrow 26"/>
              <p:cNvSpPr/>
              <p:nvPr>
                <p:custDataLst>
                  <p:tags r:id="rId17"/>
                </p:custDataLst>
              </p:nvPr>
            </p:nvSpPr>
            <p:spPr>
              <a:xfrm>
                <a:off x="1462" y="2834"/>
                <a:ext cx="604" cy="364"/>
              </a:xfrm>
              <a:prstGeom prst="rightArrow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lumMod val="75000"/>
                </a:schemeClr>
              </a:lnRef>
              <a:fillRef idx="1">
                <a:schemeClr val="accent1"/>
              </a:fillRef>
              <a:effectRef idx="0">
                <a:srgbClr val="FFFFFF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GB" altLang="en-US">
                  <a:solidFill>
                    <a:srgbClr val="FF0000"/>
                  </a:solidFill>
                  <a:effectLst/>
                  <a:latin typeface="Times New Roman" panose="02020603050405020304" charset="0"/>
                  <a:cs typeface="Times New Roman" panose="02020603050405020304" charset="0"/>
                </a:endParaRPr>
              </a:p>
            </p:txBody>
          </p:sp>
        </p:grpSp>
        <p:grpSp>
          <p:nvGrpSpPr>
            <p:cNvPr id="10" name="Group 9"/>
            <p:cNvGrpSpPr/>
            <p:nvPr>
              <p:custDataLst>
                <p:tags r:id="rId6"/>
              </p:custDataLst>
            </p:nvPr>
          </p:nvGrpSpPr>
          <p:grpSpPr>
            <a:xfrm>
              <a:off x="1850" y="3691"/>
              <a:ext cx="4769" cy="1178"/>
              <a:chOff x="1462" y="2201"/>
              <a:chExt cx="7432" cy="1820"/>
            </a:xfrm>
          </p:grpSpPr>
          <p:sp>
            <p:nvSpPr>
              <p:cNvPr id="11" name="Rounded Rectangle 10"/>
              <p:cNvSpPr/>
              <p:nvPr>
                <p:custDataLst>
                  <p:tags r:id="rId14"/>
                </p:custDataLst>
              </p:nvPr>
            </p:nvSpPr>
            <p:spPr>
              <a:xfrm>
                <a:off x="2068" y="2201"/>
                <a:ext cx="6826" cy="1820"/>
              </a:xfrm>
              <a:prstGeom prst="roundRect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2">
                <a:schemeClr val="accent1"/>
              </a:lnRef>
              <a:fillRef idx="0">
                <a:srgbClr val="FFFFFF"/>
              </a:fillRef>
              <a:effectRef idx="0">
                <a:srgbClr val="FFFFFF"/>
              </a:effectRef>
              <a:fontRef idx="minor">
                <a:schemeClr val="tx1"/>
              </a:fontRef>
            </p:style>
            <p:txBody>
              <a:bodyPr rtlCol="0" anchor="t" anchorCtr="0"/>
              <a:lstStyle/>
              <a:p>
                <a:pPr algn="l">
                  <a:lnSpc>
                    <a:spcPct val="90000"/>
                  </a:lnSpc>
                </a:pPr>
                <a:r>
                  <a:rPr lang="en-US" altLang="en-GB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Chức n</a:t>
                </a:r>
                <a:r>
                  <a:rPr lang="en-US" altLang="en-US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ă</a:t>
                </a:r>
                <a:r>
                  <a:rPr lang="en-US" altLang="en-GB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ng </a:t>
                </a:r>
                <a:r>
                  <a:rPr lang="en-US" altLang="en-US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đă</a:t>
                </a:r>
                <a:r>
                  <a:rPr lang="en-US" altLang="en-GB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ng nhập</a:t>
                </a:r>
              </a:p>
              <a:p>
                <a:pPr algn="l">
                  <a:lnSpc>
                    <a:spcPct val="90000"/>
                  </a:lnSpc>
                </a:pPr>
                <a:r>
                  <a:rPr lang="en-US" altLang="en-GB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/</a:t>
                </a:r>
                <a:r>
                  <a:rPr lang="en-US" altLang="en-US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đă</a:t>
                </a:r>
                <a:r>
                  <a:rPr lang="en-US" altLang="en-GB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ng xuất</a:t>
                </a:r>
              </a:p>
            </p:txBody>
          </p:sp>
          <p:sp>
            <p:nvSpPr>
              <p:cNvPr id="12" name="Right Arrow 11"/>
              <p:cNvSpPr/>
              <p:nvPr>
                <p:custDataLst>
                  <p:tags r:id="rId15"/>
                </p:custDataLst>
              </p:nvPr>
            </p:nvSpPr>
            <p:spPr>
              <a:xfrm>
                <a:off x="1462" y="2834"/>
                <a:ext cx="604" cy="364"/>
              </a:xfrm>
              <a:prstGeom prst="rightArrow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lumMod val="75000"/>
                </a:schemeClr>
              </a:lnRef>
              <a:fillRef idx="1">
                <a:schemeClr val="accent1"/>
              </a:fillRef>
              <a:effectRef idx="0">
                <a:srgbClr val="FFFFFF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>
                  <a:lnSpc>
                    <a:spcPct val="90000"/>
                  </a:lnSpc>
                </a:pPr>
                <a:endParaRPr lang="en-GB" altLang="en-US">
                  <a:solidFill>
                    <a:srgbClr val="FF0000"/>
                  </a:solidFill>
                  <a:effectLst/>
                  <a:latin typeface="Times New Roman" panose="02020603050405020304" charset="0"/>
                  <a:cs typeface="Times New Roman" panose="02020603050405020304" charset="0"/>
                </a:endParaRPr>
              </a:p>
            </p:txBody>
          </p:sp>
        </p:grpSp>
        <p:grpSp>
          <p:nvGrpSpPr>
            <p:cNvPr id="13" name="Group 12"/>
            <p:cNvGrpSpPr/>
            <p:nvPr>
              <p:custDataLst>
                <p:tags r:id="rId7"/>
              </p:custDataLst>
            </p:nvPr>
          </p:nvGrpSpPr>
          <p:grpSpPr>
            <a:xfrm>
              <a:off x="1850" y="5181"/>
              <a:ext cx="4772" cy="1178"/>
              <a:chOff x="1462" y="2201"/>
              <a:chExt cx="7437" cy="1820"/>
            </a:xfrm>
          </p:grpSpPr>
          <p:sp>
            <p:nvSpPr>
              <p:cNvPr id="14" name="Rounded Rectangle 13"/>
              <p:cNvSpPr/>
              <p:nvPr>
                <p:custDataLst>
                  <p:tags r:id="rId12"/>
                </p:custDataLst>
              </p:nvPr>
            </p:nvSpPr>
            <p:spPr>
              <a:xfrm>
                <a:off x="2069" y="2201"/>
                <a:ext cx="6830" cy="1820"/>
              </a:xfrm>
              <a:prstGeom prst="roundRect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2">
                <a:schemeClr val="accent1"/>
              </a:lnRef>
              <a:fillRef idx="0">
                <a:srgbClr val="FFFFFF"/>
              </a:fillRef>
              <a:effectRef idx="0">
                <a:srgbClr val="FFFFFF"/>
              </a:effectRef>
              <a:fontRef idx="minor">
                <a:schemeClr val="tx1"/>
              </a:fontRef>
            </p:style>
            <p:txBody>
              <a:bodyPr rtlCol="0" anchor="t" anchorCtr="0"/>
              <a:lstStyle/>
              <a:p>
                <a:pPr algn="just">
                  <a:lnSpc>
                    <a:spcPct val="90000"/>
                  </a:lnSpc>
                </a:pPr>
                <a:r>
                  <a:rPr lang="en-US" altLang="en-GB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Chức n</a:t>
                </a:r>
                <a:r>
                  <a:rPr lang="en-US" altLang="en-US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ă</a:t>
                </a:r>
                <a:r>
                  <a:rPr lang="en-US" altLang="en-GB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ng t</a:t>
                </a:r>
                <a:r>
                  <a:rPr lang="en-US" altLang="en-US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ì</a:t>
                </a:r>
                <a:r>
                  <a:rPr lang="en-US" altLang="en-GB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m kiếm </a:t>
                </a:r>
              </a:p>
              <a:p>
                <a:pPr algn="just">
                  <a:lnSpc>
                    <a:spcPct val="90000"/>
                  </a:lnSpc>
                </a:pPr>
                <a:r>
                  <a:rPr lang="en-US" altLang="en-GB" sz="20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sản phẩm</a:t>
                </a:r>
              </a:p>
            </p:txBody>
          </p:sp>
          <p:sp>
            <p:nvSpPr>
              <p:cNvPr id="15" name="Right Arrow 14"/>
              <p:cNvSpPr/>
              <p:nvPr>
                <p:custDataLst>
                  <p:tags r:id="rId13"/>
                </p:custDataLst>
              </p:nvPr>
            </p:nvSpPr>
            <p:spPr>
              <a:xfrm>
                <a:off x="1462" y="2834"/>
                <a:ext cx="604" cy="364"/>
              </a:xfrm>
              <a:prstGeom prst="rightArrow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lumMod val="75000"/>
                </a:schemeClr>
              </a:lnRef>
              <a:fillRef idx="1">
                <a:schemeClr val="accent1"/>
              </a:fillRef>
              <a:effectRef idx="0">
                <a:srgbClr val="FFFFFF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altLang="en-US" sz="2000">
                  <a:solidFill>
                    <a:srgbClr val="FF0000"/>
                  </a:solidFill>
                  <a:effectLst/>
                  <a:latin typeface="Times New Roman" panose="02020603050405020304" charset="0"/>
                  <a:cs typeface="Times New Roman" panose="02020603050405020304" charset="0"/>
                </a:endParaRP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1850" y="6671"/>
              <a:ext cx="4772" cy="1178"/>
              <a:chOff x="1462" y="2201"/>
              <a:chExt cx="7437" cy="1820"/>
            </a:xfrm>
          </p:grpSpPr>
          <p:sp>
            <p:nvSpPr>
              <p:cNvPr id="17" name="Rounded Rectangle 16"/>
              <p:cNvSpPr/>
              <p:nvPr>
                <p:custDataLst>
                  <p:tags r:id="rId10"/>
                </p:custDataLst>
              </p:nvPr>
            </p:nvSpPr>
            <p:spPr>
              <a:xfrm>
                <a:off x="2069" y="2201"/>
                <a:ext cx="6830" cy="1820"/>
              </a:xfrm>
              <a:prstGeom prst="roundRect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2">
                <a:schemeClr val="accent1"/>
              </a:lnRef>
              <a:fillRef idx="0">
                <a:srgbClr val="FFFFFF"/>
              </a:fillRef>
              <a:effectRef idx="0">
                <a:srgbClr val="FFFFFF"/>
              </a:effectRef>
              <a:fontRef idx="minor">
                <a:schemeClr val="tx1"/>
              </a:fontRef>
            </p:style>
            <p:txBody>
              <a:bodyPr rtlCol="0" anchor="t" anchorCtr="0"/>
              <a:lstStyle/>
              <a:p>
                <a:pPr algn="just">
                  <a:lnSpc>
                    <a:spcPct val="120000"/>
                  </a:lnSpc>
                </a:pPr>
                <a:r>
                  <a:rPr lang="en-US" altLang="en-GB" sz="24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Chức n</a:t>
                </a:r>
                <a:r>
                  <a:rPr lang="en-US" altLang="en-US" sz="24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ă</a:t>
                </a:r>
                <a:r>
                  <a:rPr lang="en-US" altLang="en-GB" sz="24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ng giỏ hàng</a:t>
                </a:r>
              </a:p>
            </p:txBody>
          </p:sp>
          <p:sp>
            <p:nvSpPr>
              <p:cNvPr id="18" name="Right Arrow 17"/>
              <p:cNvSpPr/>
              <p:nvPr>
                <p:custDataLst>
                  <p:tags r:id="rId11"/>
                </p:custDataLst>
              </p:nvPr>
            </p:nvSpPr>
            <p:spPr>
              <a:xfrm>
                <a:off x="1462" y="2834"/>
                <a:ext cx="604" cy="364"/>
              </a:xfrm>
              <a:prstGeom prst="rightArrow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lumMod val="75000"/>
                </a:schemeClr>
              </a:lnRef>
              <a:fillRef idx="1">
                <a:schemeClr val="accent1"/>
              </a:fillRef>
              <a:effectRef idx="0">
                <a:srgbClr val="FFFFFF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altLang="en-US" sz="2000">
                  <a:solidFill>
                    <a:srgbClr val="FF0000"/>
                  </a:solidFill>
                  <a:effectLst/>
                  <a:latin typeface="Times New Roman" panose="02020603050405020304" charset="0"/>
                  <a:cs typeface="Times New Roman" panose="02020603050405020304" charset="0"/>
                </a:endParaRP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1850" y="8161"/>
              <a:ext cx="4772" cy="1178"/>
              <a:chOff x="1462" y="2201"/>
              <a:chExt cx="7437" cy="1820"/>
            </a:xfrm>
          </p:grpSpPr>
          <p:sp>
            <p:nvSpPr>
              <p:cNvPr id="20" name="Rounded Rectangle 19"/>
              <p:cNvSpPr/>
              <p:nvPr>
                <p:custDataLst>
                  <p:tags r:id="rId8"/>
                </p:custDataLst>
              </p:nvPr>
            </p:nvSpPr>
            <p:spPr>
              <a:xfrm>
                <a:off x="2069" y="2201"/>
                <a:ext cx="6830" cy="1820"/>
              </a:xfrm>
              <a:prstGeom prst="roundRect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2">
                <a:schemeClr val="accent1"/>
              </a:lnRef>
              <a:fillRef idx="0">
                <a:srgbClr val="FFFFFF"/>
              </a:fillRef>
              <a:effectRef idx="0">
                <a:srgbClr val="FFFFFF"/>
              </a:effectRef>
              <a:fontRef idx="minor">
                <a:schemeClr val="tx1"/>
              </a:fontRef>
            </p:style>
            <p:txBody>
              <a:bodyPr rtlCol="0" anchor="t" anchorCtr="0"/>
              <a:lstStyle/>
              <a:p>
                <a:pPr algn="just">
                  <a:lnSpc>
                    <a:spcPct val="120000"/>
                  </a:lnSpc>
                </a:pPr>
                <a:r>
                  <a:rPr lang="en-US" altLang="en-GB" sz="24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Chức n</a:t>
                </a:r>
                <a:r>
                  <a:rPr lang="en-US" altLang="en-US" sz="24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ă</a:t>
                </a:r>
                <a:r>
                  <a:rPr lang="en-US" altLang="en-GB" sz="24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ng </a:t>
                </a:r>
                <a:r>
                  <a:rPr lang="en-US" altLang="en-US" sz="24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đ</a:t>
                </a:r>
                <a:r>
                  <a:rPr lang="en-US" altLang="en-GB" sz="2400">
                    <a:solidFill>
                      <a:srgbClr val="FF0000"/>
                    </a:solidFill>
                    <a:effectLst/>
                    <a:latin typeface="Times New Roman" panose="02020603050405020304" charset="0"/>
                    <a:ea typeface="Times New Roman" panose="02020603050405020304"/>
                    <a:cs typeface="Times New Roman" panose="02020603050405020304" charset="0"/>
                    <a:sym typeface="+mn-ea"/>
                  </a:rPr>
                  <a:t>ặt hàng</a:t>
                </a:r>
              </a:p>
            </p:txBody>
          </p:sp>
          <p:sp>
            <p:nvSpPr>
              <p:cNvPr id="21" name="Right Arrow 20"/>
              <p:cNvSpPr/>
              <p:nvPr>
                <p:custDataLst>
                  <p:tags r:id="rId9"/>
                </p:custDataLst>
              </p:nvPr>
            </p:nvSpPr>
            <p:spPr>
              <a:xfrm>
                <a:off x="1462" y="2834"/>
                <a:ext cx="604" cy="364"/>
              </a:xfrm>
              <a:prstGeom prst="rightArrow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lumMod val="75000"/>
                </a:schemeClr>
              </a:lnRef>
              <a:fillRef idx="1">
                <a:schemeClr val="accent1"/>
              </a:fillRef>
              <a:effectRef idx="0">
                <a:srgbClr val="FFFFFF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altLang="en-US" sz="2000">
                  <a:solidFill>
                    <a:srgbClr val="FF0000"/>
                  </a:solidFill>
                  <a:effectLst/>
                  <a:latin typeface="Times New Roman" panose="02020603050405020304" charset="0"/>
                  <a:cs typeface="Times New Roman" panose="02020603050405020304" charset="0"/>
                </a:endParaRPr>
              </a:p>
            </p:txBody>
          </p:sp>
        </p:grpSp>
      </p:grpSp>
      <p:pic>
        <p:nvPicPr>
          <p:cNvPr id="24" name="Audio 23">
            <a:hlinkClick r:id="" action="ppaction://media"/>
            <a:extLst>
              <a:ext uri="{FF2B5EF4-FFF2-40B4-BE49-F238E27FC236}">
                <a16:creationId xmlns:a16="http://schemas.microsoft.com/office/drawing/2014/main" id="{E7BCA626-5CAF-D8A0-8381-86066F925BBA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21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 advTm="24024">
        <p15:prstTrans prst="pageCurlDouble"/>
      </p:transition>
    </mc:Choice>
    <mc:Fallback>
      <p:transition spd="slow" advTm="2402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2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4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281305" y="1238885"/>
            <a:ext cx="5838825" cy="5602605"/>
            <a:chOff x="9638" y="1951"/>
            <a:chExt cx="9070" cy="8687"/>
          </a:xfrm>
        </p:grpSpPr>
        <p:sp>
          <p:nvSpPr>
            <p:cNvPr id="8" name="Text Box 7"/>
            <p:cNvSpPr txBox="1"/>
            <p:nvPr/>
          </p:nvSpPr>
          <p:spPr>
            <a:xfrm>
              <a:off x="9638" y="10020"/>
              <a:ext cx="8964" cy="6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66700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Màn h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ì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nh Trang chủ - Sản phẩm mới</a:t>
              </a:r>
            </a:p>
          </p:txBody>
        </p:sp>
        <p:pic>
          <p:nvPicPr>
            <p:cNvPr id="37" name="Picture 37" descr="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638" y="1951"/>
              <a:ext cx="9070" cy="7902"/>
            </a:xfrm>
            <a:prstGeom prst="rect">
              <a:avLst/>
            </a:prstGeom>
          </p:spPr>
        </p:pic>
      </p:grpSp>
      <p:sp>
        <p:nvSpPr>
          <p:cNvPr id="5" name="Rounded Rectangle 4"/>
          <p:cNvSpPr/>
          <p:nvPr/>
        </p:nvSpPr>
        <p:spPr>
          <a:xfrm>
            <a:off x="61595" y="98425"/>
            <a:ext cx="12063730" cy="88138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C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G 5: KẾT LUẬN V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À</a:t>
            </a:r>
            <a:r>
              <a:rPr 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 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ỚNG P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T TRIỂN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33770" y="1238885"/>
            <a:ext cx="5838190" cy="5601335"/>
            <a:chOff x="337" y="1952"/>
            <a:chExt cx="9194" cy="8686"/>
          </a:xfrm>
        </p:grpSpPr>
        <p:sp>
          <p:nvSpPr>
            <p:cNvPr id="7" name="Text Box 6"/>
            <p:cNvSpPr txBox="1"/>
            <p:nvPr/>
          </p:nvSpPr>
          <p:spPr>
            <a:xfrm>
              <a:off x="337" y="10020"/>
              <a:ext cx="8963" cy="6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66700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Màn h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ì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nh Danh mục sản phẩm</a:t>
              </a:r>
            </a:p>
          </p:txBody>
        </p:sp>
        <p:pic>
          <p:nvPicPr>
            <p:cNvPr id="38" name="Picture 38" descr="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58" y="1952"/>
              <a:ext cx="9073" cy="8068"/>
            </a:xfrm>
            <a:prstGeom prst="rect">
              <a:avLst/>
            </a:prstGeom>
          </p:spPr>
        </p:pic>
      </p:grpSp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A3843710-8F6F-8463-0F1F-EB42AE6E159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 advTm="9514">
        <p15:prstTrans prst="pageCurlDouble" invX="1"/>
      </p:transition>
    </mc:Choice>
    <mc:Fallback>
      <p:transition spd="slow" advTm="951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61595" y="98425"/>
            <a:ext cx="12063730" cy="88138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C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G 5: KẾT LUẬN V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À</a:t>
            </a:r>
            <a:r>
              <a:rPr 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 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ỚNG P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T TRIỂN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360045" y="1238885"/>
            <a:ext cx="5760085" cy="5522595"/>
            <a:chOff x="9531" y="1951"/>
            <a:chExt cx="9071" cy="8697"/>
          </a:xfrm>
        </p:grpSpPr>
        <p:sp>
          <p:nvSpPr>
            <p:cNvPr id="8" name="Text Box 7"/>
            <p:cNvSpPr txBox="1"/>
            <p:nvPr/>
          </p:nvSpPr>
          <p:spPr>
            <a:xfrm>
              <a:off x="9638" y="10020"/>
              <a:ext cx="8964" cy="6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66700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Màn h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ì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nh 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đă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ng nhập</a:t>
              </a:r>
            </a:p>
          </p:txBody>
        </p:sp>
        <p:pic>
          <p:nvPicPr>
            <p:cNvPr id="39" name="Picture 39" descr="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531" y="1951"/>
              <a:ext cx="9071" cy="8067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6101080" y="1238885"/>
            <a:ext cx="5779770" cy="5522595"/>
            <a:chOff x="536" y="1951"/>
            <a:chExt cx="9102" cy="8697"/>
          </a:xfrm>
        </p:grpSpPr>
        <p:sp>
          <p:nvSpPr>
            <p:cNvPr id="7" name="Text Box 6"/>
            <p:cNvSpPr txBox="1"/>
            <p:nvPr/>
          </p:nvSpPr>
          <p:spPr>
            <a:xfrm>
              <a:off x="567" y="10020"/>
              <a:ext cx="9071" cy="6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66700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Màn h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ì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nh 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Đă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ng k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ý</a:t>
              </a:r>
            </a:p>
          </p:txBody>
        </p:sp>
        <p:pic>
          <p:nvPicPr>
            <p:cNvPr id="40" name="Picture 40" descr="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36" y="1951"/>
              <a:ext cx="9072" cy="8068"/>
            </a:xfrm>
            <a:prstGeom prst="rect">
              <a:avLst/>
            </a:prstGeom>
          </p:spPr>
        </p:pic>
      </p:grpSp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94E730E4-4CC2-3819-FDF0-2C2A351DD0AC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Tm="4785">
        <p:split dir="in"/>
      </p:transition>
    </mc:Choice>
    <mc:Fallback>
      <p:transition spd="slow" advTm="4785">
        <p:split dir="in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61595" y="98425"/>
            <a:ext cx="12063730" cy="88138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C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G 5: KẾT LUẬN V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À</a:t>
            </a:r>
            <a:r>
              <a:rPr 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 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ỚNG P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T TRIỂN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29870" y="1238885"/>
            <a:ext cx="5955014" cy="5605200"/>
            <a:chOff x="9638" y="1951"/>
            <a:chExt cx="9185" cy="8688"/>
          </a:xfrm>
        </p:grpSpPr>
        <p:sp>
          <p:nvSpPr>
            <p:cNvPr id="8" name="Text Box 7"/>
            <p:cNvSpPr txBox="1"/>
            <p:nvPr/>
          </p:nvSpPr>
          <p:spPr>
            <a:xfrm>
              <a:off x="9638" y="10020"/>
              <a:ext cx="9072" cy="6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66700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Màn h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ì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nh 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Gi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ỏ hàng</a:t>
              </a:r>
            </a:p>
          </p:txBody>
        </p:sp>
        <p:pic>
          <p:nvPicPr>
            <p:cNvPr id="41" name="Picture 41" descr="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750" y="1951"/>
              <a:ext cx="9073" cy="8068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6120130" y="1238885"/>
            <a:ext cx="5801689" cy="5604510"/>
            <a:chOff x="337" y="1951"/>
            <a:chExt cx="9174" cy="8687"/>
          </a:xfrm>
        </p:grpSpPr>
        <p:sp>
          <p:nvSpPr>
            <p:cNvPr id="7" name="Text Box 6"/>
            <p:cNvSpPr txBox="1"/>
            <p:nvPr/>
          </p:nvSpPr>
          <p:spPr>
            <a:xfrm>
              <a:off x="337" y="10020"/>
              <a:ext cx="8963" cy="6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66700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Màn h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ì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nh 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đ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iền thông tin giao hàng</a:t>
              </a:r>
            </a:p>
          </p:txBody>
        </p:sp>
        <p:pic>
          <p:nvPicPr>
            <p:cNvPr id="42" name="Picture 42" descr="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9" y="1951"/>
              <a:ext cx="9072" cy="8068"/>
            </a:xfrm>
            <a:prstGeom prst="rect">
              <a:avLst/>
            </a:prstGeom>
          </p:spPr>
        </p:pic>
      </p:grpSp>
      <p:pic>
        <p:nvPicPr>
          <p:cNvPr id="4" name="Audio 3">
            <a:hlinkClick r:id="" action="ppaction://media"/>
            <a:extLst>
              <a:ext uri="{FF2B5EF4-FFF2-40B4-BE49-F238E27FC236}">
                <a16:creationId xmlns:a16="http://schemas.microsoft.com/office/drawing/2014/main" id="{62AD4756-60C4-3E0C-FE54-95B8C83FE482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Tm="10265">
        <p:split/>
      </p:transition>
    </mc:Choice>
    <mc:Fallback>
      <p:transition spd="slow" advTm="10265">
        <p:spli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61595" y="98425"/>
            <a:ext cx="12063730" cy="88138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C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G 5: KẾT LUẬN V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À</a:t>
            </a:r>
            <a:r>
              <a:rPr 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 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ỚNG P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T TRIỂN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311150" y="1238885"/>
            <a:ext cx="5760000" cy="5611495"/>
            <a:chOff x="9638" y="1951"/>
            <a:chExt cx="9072" cy="8686"/>
          </a:xfrm>
        </p:grpSpPr>
        <p:sp>
          <p:nvSpPr>
            <p:cNvPr id="8" name="Text Box 7"/>
            <p:cNvSpPr txBox="1"/>
            <p:nvPr/>
          </p:nvSpPr>
          <p:spPr>
            <a:xfrm>
              <a:off x="9638" y="10020"/>
              <a:ext cx="8964" cy="6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66700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Màn h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ì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nh Blog tin tức</a:t>
              </a:r>
            </a:p>
          </p:txBody>
        </p:sp>
        <p:pic>
          <p:nvPicPr>
            <p:cNvPr id="43" name="Picture 43" descr="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638" y="1951"/>
              <a:ext cx="9072" cy="8068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6067425" y="1238885"/>
            <a:ext cx="5760720" cy="5612400"/>
            <a:chOff x="228" y="2055"/>
            <a:chExt cx="9072" cy="8593"/>
          </a:xfrm>
        </p:grpSpPr>
        <p:sp>
          <p:nvSpPr>
            <p:cNvPr id="10" name="Text Box 9"/>
            <p:cNvSpPr txBox="1"/>
            <p:nvPr/>
          </p:nvSpPr>
          <p:spPr>
            <a:xfrm>
              <a:off x="228" y="10020"/>
              <a:ext cx="9072" cy="6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66700"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Màn h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ì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nh thông tin li</a:t>
              </a:r>
              <a:r>
                <a:rPr lang="en-US" altLang="en-US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ên h</a:t>
              </a:r>
              <a:r>
                <a:rPr lang="en-US" altLang="en-GB" sz="2000" b="1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rPr>
                <a:t>ệ</a:t>
              </a:r>
            </a:p>
          </p:txBody>
        </p:sp>
        <p:pic>
          <p:nvPicPr>
            <p:cNvPr id="11" name="Picture 12" descr="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28" y="2055"/>
              <a:ext cx="9072" cy="7965"/>
            </a:xfrm>
            <a:prstGeom prst="rect">
              <a:avLst/>
            </a:prstGeom>
          </p:spPr>
        </p:pic>
      </p:grpSp>
      <p:pic>
        <p:nvPicPr>
          <p:cNvPr id="4" name="Audio 3">
            <a:hlinkClick r:id="" action="ppaction://media"/>
            <a:extLst>
              <a:ext uri="{FF2B5EF4-FFF2-40B4-BE49-F238E27FC236}">
                <a16:creationId xmlns:a16="http://schemas.microsoft.com/office/drawing/2014/main" id="{DD63E36D-2120-3AE3-EE9E-F8C423EB2F48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 advTm="12272">
        <p14:doors dir="vert"/>
      </p:transition>
    </mc:Choice>
    <mc:Fallback>
      <p:transition spd="slow" advTm="1227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61595" y="98425"/>
            <a:ext cx="12063730" cy="88138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C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G 5: KẾT LUẬN V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À</a:t>
            </a:r>
            <a:r>
              <a:rPr 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 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ỚNG P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T TRIỂN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9525" y="979805"/>
            <a:ext cx="12192000" cy="5057140"/>
            <a:chOff x="15" y="1543"/>
            <a:chExt cx="19200" cy="7964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15" y="7396"/>
              <a:ext cx="19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grpSp>
          <p:nvGrpSpPr>
            <p:cNvPr id="13" name="Group 12"/>
            <p:cNvGrpSpPr/>
            <p:nvPr/>
          </p:nvGrpSpPr>
          <p:grpSpPr>
            <a:xfrm>
              <a:off x="363" y="1543"/>
              <a:ext cx="18466" cy="7964"/>
              <a:chOff x="363" y="1543"/>
              <a:chExt cx="18466" cy="7964"/>
            </a:xfrm>
          </p:grpSpPr>
          <p:cxnSp>
            <p:nvCxnSpPr>
              <p:cNvPr id="6" name="Straight Connector 5"/>
              <p:cNvCxnSpPr/>
              <p:nvPr/>
            </p:nvCxnSpPr>
            <p:spPr>
              <a:xfrm>
                <a:off x="9596" y="2096"/>
                <a:ext cx="0" cy="529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rgbClr val="FFFFFF"/>
              </a:fillRef>
              <a:effectRef idx="0">
                <a:srgbClr val="FFFFFF"/>
              </a:effectRef>
              <a:fontRef idx="minor">
                <a:schemeClr val="tx1"/>
              </a:fontRef>
            </p:style>
          </p:cxnSp>
          <p:sp>
            <p:nvSpPr>
              <p:cNvPr id="3" name="Text Box 2"/>
              <p:cNvSpPr txBox="1"/>
              <p:nvPr/>
            </p:nvSpPr>
            <p:spPr>
              <a:xfrm>
                <a:off x="363" y="1543"/>
                <a:ext cx="9009" cy="796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/>
              <a:p>
                <a:pPr marL="0" indent="457200" algn="ctr" defTabSz="266700">
                  <a:lnSpc>
                    <a:spcPct val="15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sz="2400" b="1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 </a:t>
                </a:r>
                <a:r>
                  <a:rPr sz="2400" b="1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Đánh</a:t>
                </a:r>
                <a:r>
                  <a:rPr sz="2400" b="1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sz="2400" b="1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giá</a:t>
                </a:r>
                <a:r>
                  <a:rPr sz="2400" b="1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, so </a:t>
                </a:r>
                <a:r>
                  <a:rPr sz="2400" b="1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sánh</a:t>
                </a:r>
                <a:r>
                  <a:rPr sz="2400" b="1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sz="2400" b="1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mục</a:t>
                </a:r>
                <a:r>
                  <a:rPr sz="2400" b="1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sz="2400" b="1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tiêu</a:t>
                </a:r>
                <a:r>
                  <a:rPr sz="2400" b="1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ban </a:t>
                </a:r>
                <a:r>
                  <a:rPr sz="2400" b="1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đầu</a:t>
                </a:r>
                <a:endParaRPr sz="2400" b="1" dirty="0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endParaRPr>
              </a:p>
              <a:p>
                <a:pPr marL="0" indent="200025" algn="l" defTabSz="266700">
                  <a:lnSpc>
                    <a:spcPct val="15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-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Về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mặt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chức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n</a:t>
                </a:r>
                <a:r>
                  <a:rPr lang="en-US" altLang="en-US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ă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ng;</a:t>
                </a:r>
              </a:p>
              <a:p>
                <a:pPr marL="0" indent="200025" algn="l" defTabSz="266700">
                  <a:lnSpc>
                    <a:spcPct val="15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-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Về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mặt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kỹ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thuật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;</a:t>
                </a:r>
              </a:p>
              <a:p>
                <a:pPr marL="0" indent="200025" algn="l" defTabSz="266700">
                  <a:lnSpc>
                    <a:spcPct val="15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-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Về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mặt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giao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diện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và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trải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nghiệm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ng</a:t>
                </a:r>
                <a:r>
                  <a:rPr lang="en-US" altLang="en-US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ư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ời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d</a:t>
                </a:r>
                <a:r>
                  <a:rPr lang="en-US" alt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ù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ng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;</a:t>
                </a:r>
              </a:p>
              <a:p>
                <a:pPr marL="0" indent="200025" algn="l" defTabSz="266700">
                  <a:lnSpc>
                    <a:spcPct val="15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-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Về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t</a:t>
                </a:r>
                <a:r>
                  <a:rPr lang="en-US" alt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í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nh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ổn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US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đ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ịnh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;</a:t>
                </a:r>
              </a:p>
            </p:txBody>
          </p:sp>
          <p:sp>
            <p:nvSpPr>
              <p:cNvPr id="7" name="Text Box 6"/>
              <p:cNvSpPr txBox="1"/>
              <p:nvPr/>
            </p:nvSpPr>
            <p:spPr>
              <a:xfrm>
                <a:off x="9758" y="1543"/>
                <a:ext cx="9071" cy="796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/>
              <a:p>
                <a:pPr marL="0" indent="457200" algn="ctr" defTabSz="266700">
                  <a:lnSpc>
                    <a:spcPct val="15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sz="2400" b="1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 </a:t>
                </a:r>
                <a:r>
                  <a:rPr lang="en-US" altLang="en-GB" sz="2400" b="1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Hạn</a:t>
                </a:r>
                <a:r>
                  <a:rPr lang="en-US" altLang="en-GB" sz="2400" b="1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400" b="1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chế</a:t>
                </a:r>
                <a:r>
                  <a:rPr lang="en-US" altLang="en-GB" sz="2400" b="1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400" b="1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và</a:t>
                </a:r>
                <a:r>
                  <a:rPr lang="en-US" altLang="en-GB" sz="2400" b="1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h</a:t>
                </a:r>
                <a:r>
                  <a:rPr lang="en-US" altLang="en-US" sz="2400" b="1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ư</a:t>
                </a:r>
                <a:r>
                  <a:rPr lang="en-US" altLang="en-GB" sz="2400" b="1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ớng</a:t>
                </a:r>
                <a:r>
                  <a:rPr lang="en-US" altLang="en-GB" sz="2400" b="1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400" b="1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ph</a:t>
                </a:r>
                <a:r>
                  <a:rPr lang="en-US" altLang="en-US" sz="2400" b="1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á</a:t>
                </a:r>
                <a:r>
                  <a:rPr lang="en-US" altLang="en-GB" sz="2400" b="1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t</a:t>
                </a:r>
                <a:r>
                  <a:rPr lang="en-US" altLang="en-GB" sz="2400" b="1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400" b="1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triển</a:t>
                </a:r>
                <a:endParaRPr lang="en-US" altLang="en-GB" sz="2400" b="1" dirty="0">
                  <a:solidFill>
                    <a:srgbClr val="000000"/>
                  </a:solidFill>
                  <a:latin typeface="Times New Roman" panose="02020603050405020304"/>
                  <a:ea typeface="Times New Roman" panose="02020603050405020304"/>
                </a:endParaRPr>
              </a:p>
              <a:p>
                <a:pPr marL="0" indent="208280" algn="l" defTabSz="266700">
                  <a:lnSpc>
                    <a:spcPct val="15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- </a:t>
                </a:r>
                <a:r>
                  <a:rPr 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T</a:t>
                </a:r>
                <a:r>
                  <a:rPr lang="en-US" alt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í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ch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hợp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cổng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thanh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to</a:t>
                </a:r>
                <a:r>
                  <a:rPr lang="en-US" alt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á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n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trực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tuyến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;</a:t>
                </a:r>
              </a:p>
              <a:p>
                <a:pPr marL="0" indent="200025" algn="l" defTabSz="266700">
                  <a:lnSpc>
                    <a:spcPct val="15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- </a:t>
                </a:r>
                <a:r>
                  <a:rPr 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  <a:sym typeface="+mn-ea"/>
                  </a:rPr>
                  <a:t>T</a:t>
                </a:r>
                <a:r>
                  <a:rPr lang="en-US" alt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  <a:sym typeface="+mn-ea"/>
                  </a:rPr>
                  <a:t>í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  <a:sym typeface="+mn-ea"/>
                  </a:rPr>
                  <a:t>ch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  <a:sym typeface="+mn-ea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  <a:sym typeface="+mn-ea"/>
                  </a:rPr>
                  <a:t>hợp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  <a:sym typeface="+mn-ea"/>
                  </a:rPr>
                  <a:t> </a:t>
                </a:r>
                <a:r>
                  <a:rPr lang="en-US" altLang="en-US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đ</a:t>
                </a:r>
                <a:r>
                  <a:rPr lang="en-US" alt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á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nh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gi</a:t>
                </a:r>
                <a:r>
                  <a:rPr lang="en-US" alt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á</a:t>
                </a:r>
                <a:r>
                  <a:rPr lang="en-US" altLang="en-US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, </a:t>
                </a:r>
                <a:r>
                  <a:rPr lang="en-US" alt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bì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nh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luận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,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  <a:sym typeface="+mn-ea"/>
                  </a:rPr>
                  <a:t>khuyến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  <a:sym typeface="+mn-ea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  <a:sym typeface="+mn-ea"/>
                  </a:rPr>
                  <a:t>m</a:t>
                </a:r>
                <a:r>
                  <a:rPr lang="en-US" alt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  <a:sym typeface="+mn-ea"/>
                  </a:rPr>
                  <a:t>ã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  <a:sym typeface="+mn-ea"/>
                  </a:rPr>
                  <a:t>i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  <a:sym typeface="+mn-ea"/>
                  </a:rPr>
                  <a:t>,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...;</a:t>
                </a:r>
              </a:p>
              <a:p>
                <a:pPr marL="0" indent="200025" algn="l" defTabSz="266700">
                  <a:lnSpc>
                    <a:spcPct val="15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-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N</a:t>
                </a:r>
                <a:r>
                  <a:rPr lang="en-US" alt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â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ng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cao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t</a:t>
                </a:r>
                <a:r>
                  <a:rPr lang="en-US" alt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í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nh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bảo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mật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;</a:t>
                </a:r>
              </a:p>
              <a:p>
                <a:pPr marL="0" indent="200025" algn="l" defTabSz="266700">
                  <a:lnSpc>
                    <a:spcPct val="15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-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Ph</a:t>
                </a:r>
                <a:r>
                  <a:rPr lang="en-US" alt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á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t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triển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US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đ</a:t>
                </a:r>
                <a:r>
                  <a:rPr 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i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ện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to</a:t>
                </a:r>
                <a:r>
                  <a:rPr lang="en-US" alt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á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n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US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đ</a:t>
                </a:r>
                <a:r>
                  <a:rPr lang="en-US" alt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á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m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m</a:t>
                </a:r>
                <a:r>
                  <a:rPr lang="en-US" alt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ây</a:t>
                </a:r>
                <a:r>
                  <a:rPr lang="en-US" altLang="en-US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,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ứng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dụng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US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đ</a:t>
                </a:r>
                <a:r>
                  <a:rPr lang="en-US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i</a:t>
                </a:r>
                <a:r>
                  <a:rPr lang="en-US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US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đ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ộng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US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đ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ồng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bộ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</a:t>
                </a:r>
                <a:r>
                  <a:rPr lang="en-US" altLang="en-GB" sz="2200" dirty="0" err="1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với</a:t>
                </a:r>
                <a:r>
                  <a:rPr lang="en-US" altLang="en-GB" sz="2200" dirty="0">
                    <a:solidFill>
                      <a:srgbClr val="000000"/>
                    </a:solidFill>
                    <a:latin typeface="Times New Roman" panose="02020603050405020304"/>
                    <a:ea typeface="Times New Roman" panose="02020603050405020304"/>
                  </a:rPr>
                  <a:t> website;</a:t>
                </a:r>
              </a:p>
            </p:txBody>
          </p:sp>
        </p:grpSp>
      </p:grpSp>
      <p:sp>
        <p:nvSpPr>
          <p:cNvPr id="10" name="Text Box 9"/>
          <p:cNvSpPr txBox="1"/>
          <p:nvPr/>
        </p:nvSpPr>
        <p:spPr>
          <a:xfrm>
            <a:off x="10160" y="4702175"/>
            <a:ext cx="12191365" cy="214693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indent="0" algn="ctr" defTabSz="2667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GB" sz="2400" b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ẾT LUẬN</a:t>
            </a:r>
            <a:endParaRPr lang="en-US" altLang="en-GB" sz="2400">
              <a:solidFill>
                <a:srgbClr val="000000"/>
              </a:solidFill>
              <a:latin typeface="Times New Roman" panose="02020603050405020304"/>
              <a:ea typeface="Times New Roman" panose="02020603050405020304"/>
            </a:endParaRPr>
          </a:p>
          <a:p>
            <a:pPr marL="0" indent="457200" algn="just" defTabSz="2667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ì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 chung, 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ồ 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 không chỉ là một website b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 giày trực tuyến c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ó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t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í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 ứng dụng thực tiễn mà c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ò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 là một minh chứng cho khả n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ă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 kết hợp giữa l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ý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thuyết 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ã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học và thực tiễn triển khai, 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ồng thời thể hiện 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ư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ợc khả n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ă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 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 dụng tổng hợp kiến thức lập tr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ì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 web, thiết kế c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ơ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sở dữ liệu và triển khai website thực tế, g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ó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 phần gi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ú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 c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 cửa hàng, doanh nghiệp vừa và nhỏ mở ra nhiều h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ư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ớng ph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 triển tiềm n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ă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 trong t</a:t>
            </a:r>
            <a:r>
              <a:rPr lang="en-US" altLang="en-US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ươ</a:t>
            </a:r>
            <a:r>
              <a:rPr lang="en-US" altLang="en-GB" sz="200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 lai.</a:t>
            </a:r>
          </a:p>
        </p:txBody>
      </p:sp>
      <p:pic>
        <p:nvPicPr>
          <p:cNvPr id="17" name="Audio 16">
            <a:hlinkClick r:id="" action="ppaction://media"/>
            <a:extLst>
              <a:ext uri="{FF2B5EF4-FFF2-40B4-BE49-F238E27FC236}">
                <a16:creationId xmlns:a16="http://schemas.microsoft.com/office/drawing/2014/main" id="{8DA19D37-9B3A-8BF5-9A08-09A2E461CF0C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 advTm="73132">
        <p14:doors/>
      </p:transition>
    </mc:Choice>
    <mc:Fallback>
      <p:transition spd="slow" advTm="7313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4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4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34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7"/>
                </p:tgtEl>
              </p:cMediaNode>
            </p:audio>
          </p:childTnLst>
        </p:cTn>
      </p:par>
    </p:tnLst>
    <p:bldLst>
      <p:bldP spid="10" grpId="0"/>
      <p:bldP spid="10" grpId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 descr="A white and orange background&#10;&#10;Description automatically generated"/>
          <p:cNvPicPr>
            <a:picLocks noChangeAspect="1"/>
          </p:cNvPicPr>
          <p:nvPr/>
        </p:nvPicPr>
        <p:blipFill rotWithShape="1">
          <a:blip r:embed="rId5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 descr="A white and orange striped surface&#10;&#10;Description automatically generated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98" y="19878"/>
            <a:ext cx="12184602" cy="6858000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635" y="6268720"/>
            <a:ext cx="12173585" cy="608965"/>
            <a:chOff x="0" y="0"/>
            <a:chExt cx="7560309" cy="1361516"/>
          </a:xfrm>
        </p:grpSpPr>
        <p:sp>
          <p:nvSpPr>
            <p:cNvPr id="7" name="Graphic 7"/>
            <p:cNvSpPr/>
            <p:nvPr/>
          </p:nvSpPr>
          <p:spPr>
            <a:xfrm>
              <a:off x="0" y="0"/>
              <a:ext cx="7560309" cy="1361440"/>
            </a:xfrm>
            <a:custGeom>
              <a:avLst/>
              <a:gdLst/>
              <a:ahLst/>
              <a:cxnLst/>
              <a:rect l="l" t="t" r="r" b="b"/>
              <a:pathLst>
                <a:path w="7560309" h="1361440">
                  <a:moveTo>
                    <a:pt x="273011" y="0"/>
                  </a:moveTo>
                  <a:lnTo>
                    <a:pt x="0" y="1361135"/>
                  </a:lnTo>
                  <a:lnTo>
                    <a:pt x="7560005" y="1361135"/>
                  </a:lnTo>
                  <a:lnTo>
                    <a:pt x="7560005" y="892428"/>
                  </a:lnTo>
                  <a:lnTo>
                    <a:pt x="273011" y="0"/>
                  </a:lnTo>
                  <a:close/>
                </a:path>
              </a:pathLst>
            </a:custGeom>
            <a:solidFill>
              <a:srgbClr val="FFDE16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lang="en-US"/>
            </a:p>
          </p:txBody>
        </p:sp>
        <p:sp>
          <p:nvSpPr>
            <p:cNvPr id="9" name="Graphic 8"/>
            <p:cNvSpPr/>
            <p:nvPr/>
          </p:nvSpPr>
          <p:spPr>
            <a:xfrm>
              <a:off x="0" y="429044"/>
              <a:ext cx="7560309" cy="932180"/>
            </a:xfrm>
            <a:custGeom>
              <a:avLst/>
              <a:gdLst/>
              <a:ahLst/>
              <a:cxnLst/>
              <a:rect l="l" t="t" r="r" b="b"/>
              <a:pathLst>
                <a:path w="7560309" h="932180">
                  <a:moveTo>
                    <a:pt x="451624" y="0"/>
                  </a:moveTo>
                  <a:lnTo>
                    <a:pt x="0" y="932091"/>
                  </a:lnTo>
                  <a:lnTo>
                    <a:pt x="7560005" y="932091"/>
                  </a:lnTo>
                  <a:lnTo>
                    <a:pt x="7560005" y="590219"/>
                  </a:lnTo>
                  <a:lnTo>
                    <a:pt x="451624" y="0"/>
                  </a:lnTo>
                  <a:close/>
                </a:path>
              </a:pathLst>
            </a:custGeom>
            <a:solidFill>
              <a:srgbClr val="00AEEF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lang="en-US"/>
            </a:p>
          </p:txBody>
        </p:sp>
        <p:sp>
          <p:nvSpPr>
            <p:cNvPr id="10" name="Graphic 9"/>
            <p:cNvSpPr/>
            <p:nvPr/>
          </p:nvSpPr>
          <p:spPr>
            <a:xfrm>
              <a:off x="0" y="630631"/>
              <a:ext cx="7560309" cy="730885"/>
            </a:xfrm>
            <a:custGeom>
              <a:avLst/>
              <a:gdLst/>
              <a:ahLst/>
              <a:cxnLst/>
              <a:rect l="l" t="t" r="r" b="b"/>
              <a:pathLst>
                <a:path w="7560309" h="730885">
                  <a:moveTo>
                    <a:pt x="586587" y="0"/>
                  </a:moveTo>
                  <a:lnTo>
                    <a:pt x="0" y="730504"/>
                  </a:lnTo>
                  <a:lnTo>
                    <a:pt x="7560005" y="730504"/>
                  </a:lnTo>
                  <a:lnTo>
                    <a:pt x="7560005" y="508000"/>
                  </a:lnTo>
                  <a:lnTo>
                    <a:pt x="586587" y="0"/>
                  </a:lnTo>
                  <a:close/>
                </a:path>
              </a:pathLst>
            </a:custGeom>
            <a:solidFill>
              <a:srgbClr val="1B75BC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lang="en-US"/>
            </a:p>
          </p:txBody>
        </p:sp>
      </p:grpSp>
      <p:sp>
        <p:nvSpPr>
          <p:cNvPr id="15" name="TextBox 6"/>
          <p:cNvSpPr txBox="1"/>
          <p:nvPr/>
        </p:nvSpPr>
        <p:spPr>
          <a:xfrm>
            <a:off x="0" y="1594485"/>
            <a:ext cx="12191365" cy="466725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altLang="en-GB" sz="60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Cảm </a:t>
            </a:r>
            <a:r>
              <a:rPr lang="en-US" altLang="en-US" sz="60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ơ</a:t>
            </a:r>
            <a:r>
              <a:rPr lang="en-US" altLang="en-GB" sz="60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n Thầy/</a:t>
            </a:r>
            <a:r>
              <a:rPr lang="en-US" altLang="en-GB" sz="6000" b="1" kern="1800" dirty="0" err="1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Cô</a:t>
            </a:r>
            <a:r>
              <a:rPr lang="en-US" altLang="en-GB" sz="60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 </a:t>
            </a:r>
            <a:r>
              <a:rPr lang="en-US" altLang="en-US" sz="6000" b="1" kern="1800" dirty="0" err="1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đã</a:t>
            </a:r>
            <a:r>
              <a:rPr lang="en-US" altLang="en-US" sz="60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 </a:t>
            </a:r>
            <a:r>
              <a:rPr lang="en-US" altLang="en-US" sz="6000" b="1" kern="1800" dirty="0" err="1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theo</a:t>
            </a:r>
            <a:r>
              <a:rPr lang="en-US" altLang="en-US" sz="60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 </a:t>
            </a:r>
            <a:r>
              <a:rPr lang="en-US" altLang="en-US" sz="6000" b="1" kern="1800" dirty="0" err="1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dõ</a:t>
            </a:r>
            <a:r>
              <a:rPr lang="en-US" altLang="en-GB" sz="6000" b="1" kern="1800" dirty="0" err="1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i</a:t>
            </a:r>
            <a:r>
              <a:rPr lang="en-US" altLang="en-GB" sz="60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 </a:t>
            </a:r>
          </a:p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altLang="en-GB" sz="6000" b="1" kern="1800" dirty="0" err="1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phần</a:t>
            </a:r>
            <a:r>
              <a:rPr lang="en-US" altLang="en-GB" sz="60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 thuyết tr</a:t>
            </a:r>
            <a:r>
              <a:rPr lang="en-US" altLang="en-US" sz="60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ì</a:t>
            </a:r>
            <a:r>
              <a:rPr lang="en-US" altLang="en-GB" sz="60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nh </a:t>
            </a:r>
            <a:r>
              <a:rPr lang="en-US" altLang="en-US" sz="60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đ</a:t>
            </a:r>
            <a:r>
              <a:rPr lang="en-US" altLang="en-GB" sz="60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ồ </a:t>
            </a:r>
            <a:r>
              <a:rPr lang="en-US" altLang="en-US" sz="60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á</a:t>
            </a:r>
            <a:r>
              <a:rPr lang="en-US" altLang="en-GB" sz="60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n:</a:t>
            </a:r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altLang="en-GB" sz="54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“XÂY DỰNG WEBSITE B</a:t>
            </a:r>
            <a:r>
              <a:rPr lang="en-US" altLang="en-US" sz="54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Á</a:t>
            </a:r>
            <a:r>
              <a:rPr lang="en-US" altLang="en-GB" sz="54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N GI</a:t>
            </a:r>
            <a:r>
              <a:rPr lang="en-US" altLang="en-US" sz="54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À</a:t>
            </a:r>
            <a:r>
              <a:rPr lang="en-US" altLang="en-GB" sz="5400" b="1" kern="18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Y”</a:t>
            </a:r>
          </a:p>
          <a:p>
            <a:pPr algn="ctr"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altLang="en-GB" sz="6000" b="1" i="1" kern="1800" dirty="0">
                <a:ln>
                  <a:solidFill>
                    <a:srgbClr val="C00000"/>
                  </a:solidFill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XIN TR</a:t>
            </a:r>
            <a:r>
              <a:rPr lang="en-US" altLang="en-US" sz="6000" b="1" i="1" kern="1800" dirty="0">
                <a:ln>
                  <a:solidFill>
                    <a:srgbClr val="C00000"/>
                  </a:solidFill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Â</a:t>
            </a:r>
            <a:r>
              <a:rPr lang="en-US" sz="6000" b="1" i="1" kern="1800" dirty="0">
                <a:ln>
                  <a:solidFill>
                    <a:srgbClr val="C00000"/>
                  </a:solidFill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N TR</a:t>
            </a:r>
            <a:r>
              <a:rPr lang="en-US" altLang="en-GB" sz="6000" b="1" i="1" kern="1800" dirty="0">
                <a:ln>
                  <a:solidFill>
                    <a:srgbClr val="C00000"/>
                  </a:solidFill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ỌNG CẢM </a:t>
            </a:r>
            <a:r>
              <a:rPr lang="en-US" altLang="en-US" sz="6000" b="1" i="1" kern="1800" dirty="0">
                <a:ln>
                  <a:solidFill>
                    <a:srgbClr val="C00000"/>
                  </a:solidFill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Ơ</a:t>
            </a:r>
            <a:r>
              <a:rPr lang="en-US" altLang="en-GB" sz="6000" b="1" i="1" kern="1800" dirty="0">
                <a:ln>
                  <a:solidFill>
                    <a:srgbClr val="C00000"/>
                  </a:solidFill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  <a:sym typeface="+mn-ea"/>
              </a:rPr>
              <a:t>N!</a:t>
            </a:r>
          </a:p>
        </p:txBody>
      </p:sp>
      <p:pic>
        <p:nvPicPr>
          <p:cNvPr id="4" name="Picture 3"/>
          <p:cNvPicPr/>
          <p:nvPr/>
        </p:nvPicPr>
        <p:blipFill>
          <a:blip r:embed="rId7"/>
          <a:srcRect l="39121" t="24780" r="39499" b="37025"/>
          <a:stretch>
            <a:fillRect/>
          </a:stretch>
        </p:blipFill>
        <p:spPr>
          <a:xfrm>
            <a:off x="7620" y="0"/>
            <a:ext cx="1654175" cy="1594485"/>
          </a:xfrm>
          <a:prstGeom prst="ellipse">
            <a:avLst/>
          </a:prstGeom>
        </p:spPr>
      </p:pic>
      <p:sp>
        <p:nvSpPr>
          <p:cNvPr id="8" name="Rounded Rectangle 7"/>
          <p:cNvSpPr/>
          <p:nvPr/>
        </p:nvSpPr>
        <p:spPr>
          <a:xfrm>
            <a:off x="1654175" y="0"/>
            <a:ext cx="10537825" cy="1594485"/>
          </a:xfrm>
          <a:prstGeom prst="roundRect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en-GB" sz="3200">
                <a:latin typeface="Times New Roman" panose="02020603050405020304" charset="0"/>
                <a:cs typeface="Times New Roman" panose="02020603050405020304" charset="0"/>
              </a:rPr>
              <a:t>TR</a:t>
            </a:r>
            <a:r>
              <a:rPr lang="en-US" altLang="en-US" sz="3200">
                <a:latin typeface="Times New Roman" panose="02020603050405020304" charset="0"/>
                <a:cs typeface="Times New Roman" panose="02020603050405020304" charset="0"/>
              </a:rPr>
              <a:t>Ư</a:t>
            </a:r>
            <a:r>
              <a:rPr lang="en-US" altLang="en-GB" sz="3200">
                <a:latin typeface="Times New Roman" panose="02020603050405020304" charset="0"/>
                <a:cs typeface="Times New Roman" panose="02020603050405020304" charset="0"/>
              </a:rPr>
              <a:t>ỜNG </a:t>
            </a:r>
            <a:r>
              <a:rPr lang="en-US" sz="3200">
                <a:latin typeface="Times New Roman" panose="02020603050405020304" charset="0"/>
                <a:cs typeface="Times New Roman" panose="02020603050405020304" charset="0"/>
                <a:sym typeface="+mn-ea"/>
              </a:rPr>
              <a:t>K</a:t>
            </a:r>
            <a:r>
              <a:rPr lang="en-US" altLang="en-GB" sz="3200">
                <a:latin typeface="Times New Roman" panose="02020603050405020304" charset="0"/>
                <a:cs typeface="Times New Roman" panose="02020603050405020304" charset="0"/>
                <a:sym typeface="+mn-ea"/>
              </a:rPr>
              <a:t>Ỹ THUẬT V</a:t>
            </a:r>
            <a:r>
              <a:rPr lang="en-US" altLang="en-US" sz="3200">
                <a:latin typeface="Times New Roman" panose="02020603050405020304" charset="0"/>
                <a:cs typeface="Times New Roman" panose="02020603050405020304" charset="0"/>
                <a:sym typeface="+mn-ea"/>
              </a:rPr>
              <a:t>À</a:t>
            </a:r>
            <a:r>
              <a:rPr lang="en-US" sz="3200">
                <a:latin typeface="Times New Roman" panose="02020603050405020304" charset="0"/>
                <a:cs typeface="Times New Roman" panose="02020603050405020304" charset="0"/>
                <a:sym typeface="+mn-ea"/>
              </a:rPr>
              <a:t> C</a:t>
            </a:r>
            <a:r>
              <a:rPr lang="en-US" altLang="en-US" sz="3200">
                <a:latin typeface="Times New Roman" panose="02020603050405020304" charset="0"/>
                <a:cs typeface="Times New Roman" panose="02020603050405020304" charset="0"/>
                <a:sym typeface="+mn-ea"/>
              </a:rPr>
              <a:t>ÔNG NGH</a:t>
            </a:r>
            <a:r>
              <a:rPr lang="en-US" altLang="en-GB" sz="3200">
                <a:latin typeface="Times New Roman" panose="02020603050405020304" charset="0"/>
                <a:cs typeface="Times New Roman" panose="02020603050405020304" charset="0"/>
                <a:sym typeface="+mn-ea"/>
              </a:rPr>
              <a:t>Ệ</a:t>
            </a:r>
            <a:endParaRPr lang="en-US" altLang="en-GB" sz="3200">
              <a:latin typeface="Times New Roman" panose="02020603050405020304" charset="0"/>
              <a:cs typeface="Times New Roman" panose="02020603050405020304" charset="0"/>
            </a:endParaRPr>
          </a:p>
          <a:p>
            <a:pPr algn="ctr"/>
            <a:r>
              <a:rPr lang="en-US" sz="3200">
                <a:latin typeface="Times New Roman" panose="02020603050405020304" charset="0"/>
                <a:cs typeface="Times New Roman" panose="02020603050405020304" charset="0"/>
              </a:rPr>
              <a:t>KHOA </a:t>
            </a:r>
            <a:r>
              <a:rPr lang="en-US" altLang="en-US" sz="3200">
                <a:latin typeface="Times New Roman" panose="02020603050405020304" charset="0"/>
                <a:cs typeface="Times New Roman" panose="02020603050405020304" charset="0"/>
                <a:sym typeface="+mn-ea"/>
              </a:rPr>
              <a:t>CÔNG NGH</a:t>
            </a:r>
            <a:r>
              <a:rPr lang="en-US" altLang="en-GB" sz="3200">
                <a:latin typeface="Times New Roman" panose="02020603050405020304" charset="0"/>
                <a:cs typeface="Times New Roman" panose="02020603050405020304" charset="0"/>
                <a:sym typeface="+mn-ea"/>
              </a:rPr>
              <a:t>Ệ TH</a:t>
            </a:r>
            <a:r>
              <a:rPr lang="en-US" altLang="en-US" sz="3200">
                <a:latin typeface="Times New Roman" panose="02020603050405020304" charset="0"/>
                <a:cs typeface="Times New Roman" panose="02020603050405020304" charset="0"/>
                <a:sym typeface="+mn-ea"/>
              </a:rPr>
              <a:t>ÔNG TIN</a:t>
            </a:r>
          </a:p>
          <a:p>
            <a:pPr algn="ctr"/>
            <a:r>
              <a:rPr lang="en-US" altLang="en-GB" sz="3200">
                <a:latin typeface="Times New Roman" panose="02020603050405020304" charset="0"/>
                <a:cs typeface="Times New Roman" panose="02020603050405020304" charset="0"/>
              </a:rPr>
              <a:t>LỚP DT23TTK10</a:t>
            </a:r>
          </a:p>
        </p:txBody>
      </p:sp>
      <p:pic>
        <p:nvPicPr>
          <p:cNvPr id="6" name="Audio 5">
            <a:hlinkClick r:id="" action="ppaction://media"/>
            <a:extLst>
              <a:ext uri="{FF2B5EF4-FFF2-40B4-BE49-F238E27FC236}">
                <a16:creationId xmlns:a16="http://schemas.microsoft.com/office/drawing/2014/main" id="{FC440059-E3D9-B2C4-6BCA-EF25D3E13D03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 advTm="15246">
        <p15:prstTrans prst="airplane"/>
      </p:transition>
    </mc:Choice>
    <mc:Fallback>
      <p:transition spd="slow" advTm="1524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6" y="-1"/>
            <a:ext cx="12192000" cy="68580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095989" y="1478283"/>
            <a:ext cx="65" cy="741678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ct val="120000"/>
              </a:lnSpc>
            </a:pPr>
            <a:endParaRPr lang="en-US" sz="4400" b="1" dirty="0">
              <a:solidFill>
                <a:srgbClr val="014EC4"/>
              </a:solidFill>
              <a:latin typeface="Times New Roman" panose="02020603050405020304"/>
              <a:cs typeface="Times New Roman" panose="02020603050405020304" charset="0"/>
            </a:endParaRPr>
          </a:p>
        </p:txBody>
      </p:sp>
      <p:sp>
        <p:nvSpPr>
          <p:cNvPr id="19" name="Content Placeholder 1"/>
          <p:cNvSpPr>
            <a:spLocks noGrp="1"/>
          </p:cNvSpPr>
          <p:nvPr/>
        </p:nvSpPr>
        <p:spPr>
          <a:xfrm>
            <a:off x="0" y="38100"/>
            <a:ext cx="12192000" cy="11207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en-GB" sz="4000" b="1">
                <a:solidFill>
                  <a:srgbClr val="FF0000"/>
                </a:solidFill>
                <a:latin typeface="Times New Roman" panose="02020603050405020304" charset="0"/>
                <a:cs typeface="Times New Roman" panose="02020603050405020304" charset="0"/>
              </a:rPr>
              <a:t>LỜI CẢM </a:t>
            </a:r>
            <a:r>
              <a:rPr lang="en-US" altLang="en-US" sz="4000" b="1">
                <a:solidFill>
                  <a:srgbClr val="FF0000"/>
                </a:solidFill>
                <a:latin typeface="Times New Roman" panose="02020603050405020304" charset="0"/>
                <a:cs typeface="Times New Roman" panose="02020603050405020304" charset="0"/>
              </a:rPr>
              <a:t>Ơ</a:t>
            </a:r>
            <a:r>
              <a:rPr lang="en-US" altLang="en-GB" sz="4000" b="1">
                <a:solidFill>
                  <a:srgbClr val="FF0000"/>
                </a:solidFill>
                <a:latin typeface="Times New Roman" panose="02020603050405020304" charset="0"/>
                <a:cs typeface="Times New Roman" panose="02020603050405020304" charset="0"/>
              </a:rPr>
              <a:t>N</a:t>
            </a:r>
          </a:p>
          <a:p>
            <a:pPr marL="0" indent="0" algn="ctr">
              <a:buNone/>
            </a:pPr>
            <a:endParaRPr lang="en-US" altLang="en-GB" sz="4000" b="1">
              <a:solidFill>
                <a:srgbClr val="FF0000"/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5" name="Text Box 4"/>
          <p:cNvSpPr txBox="1"/>
          <p:nvPr/>
        </p:nvSpPr>
        <p:spPr>
          <a:xfrm>
            <a:off x="-9525" y="577215"/>
            <a:ext cx="12192635" cy="6147435"/>
          </a:xfrm>
          <a:prstGeom prst="rect">
            <a:avLst/>
          </a:prstGeo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/>
          <a:p>
            <a:pPr marL="0" indent="328930" algn="just" defTabSz="2667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ước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hết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,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e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xi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bày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ỏ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lò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biết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ơ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ế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oà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hể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quý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hầy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/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ô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Trường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ại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học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Trà Vinh,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ặc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biệt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là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Khoa Công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ghệ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Thông tin 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ã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ậ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ì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giả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dạy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,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uyề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ạt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ho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e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hữ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kiế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hức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ề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ả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ũ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hư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huyê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gà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o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suốt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hời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gia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học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ập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ại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ườ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. Những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bài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giả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,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hữ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ị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hướ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quý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báu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ã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ở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hà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hà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a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qua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ọ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ể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e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ó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hể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vậ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dụ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vào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hực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ế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và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hoà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hà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ồ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á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ày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.</a:t>
            </a:r>
          </a:p>
          <a:p>
            <a:pPr marL="0" indent="328930" algn="just" defTabSz="2667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Em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xi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gửi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lời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ả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ơ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sâu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sắc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hất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ế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hầy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 TS. Nguyễn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hứt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Lam –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gười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ực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iếp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hướ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dẫ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,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ã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luô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ậ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â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hỉ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bảo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,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ị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hướ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,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ưa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ra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hữ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góp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ý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xác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á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và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hỗ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ợ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e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khắc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phục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hữ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khó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khă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o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quá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ì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ghiê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ứu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và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phát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iể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Website.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Sự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kiê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hẫ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,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ậ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ì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và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ác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hiệ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ủa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hầy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hí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là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ộ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lực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to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lớ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giúp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e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kiê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ì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hoà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hà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ồ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á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.</a:t>
            </a:r>
          </a:p>
          <a:p>
            <a:pPr marL="0" indent="328930" algn="just" defTabSz="2667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Bê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ạ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ó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,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e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ũ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xi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ả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ơ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ác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hầy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/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ô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o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Hội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ồ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phả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biệ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ã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dà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hời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gia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ọc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,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á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giá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và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ưa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ra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hữ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hậ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xét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quý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báu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ể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e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ó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ơ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hội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hì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hậ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lại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ô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việc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ủa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mì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,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ồ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hời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rút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ra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hiều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bài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học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ki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ghiệ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cho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con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ườ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ghề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ghiệp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sau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ày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.</a:t>
            </a:r>
          </a:p>
          <a:p>
            <a:pPr marL="0" indent="328930" algn="just" defTabSz="2667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Em </a:t>
            </a:r>
            <a:r>
              <a:rPr dirty="0" err="1">
                <a:effectLst/>
                <a:latin typeface="Times New Roman" panose="02020603050405020304"/>
                <a:ea typeface="Times New Roman" panose="02020603050405020304"/>
                <a:sym typeface="+mn-ea"/>
              </a:rPr>
              <a:t>xin</a:t>
            </a:r>
            <a:r>
              <a:rPr dirty="0">
                <a:effectLst/>
                <a:latin typeface="Times New Roman" panose="02020603050405020304"/>
                <a:ea typeface="Times New Roman" panose="02020603050405020304"/>
                <a:sym typeface="+mn-ea"/>
              </a:rPr>
              <a:t> </a:t>
            </a:r>
            <a:r>
              <a:rPr dirty="0" err="1">
                <a:effectLst/>
                <a:latin typeface="Times New Roman" panose="02020603050405020304"/>
                <a:ea typeface="Times New Roman" panose="02020603050405020304"/>
                <a:sym typeface="+mn-ea"/>
              </a:rPr>
              <a:t>cảm</a:t>
            </a:r>
            <a:r>
              <a:rPr dirty="0">
                <a:effectLst/>
                <a:latin typeface="Times New Roman" panose="02020603050405020304"/>
                <a:ea typeface="Times New Roman" panose="02020603050405020304"/>
                <a:sym typeface="+mn-ea"/>
              </a:rPr>
              <a:t> </a:t>
            </a:r>
            <a:r>
              <a:rPr dirty="0" err="1">
                <a:effectLst/>
                <a:latin typeface="Times New Roman" panose="02020603050405020304"/>
                <a:ea typeface="Times New Roman" panose="02020603050405020304"/>
                <a:sym typeface="+mn-ea"/>
              </a:rPr>
              <a:t>ơ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gia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ình</a:t>
            </a:r>
            <a:r>
              <a:rPr lang="en-US"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,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bạ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bè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,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ồ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ghiệp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ã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luô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ồ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hà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, chia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sẻ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,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ó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góp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ý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kiế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và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giúp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ỡ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e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ong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quá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rình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ì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kiế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ài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liệu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,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hử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ghiệ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và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hoà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hiệ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sản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</a:t>
            </a:r>
            <a:r>
              <a:rPr dirty="0" err="1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phẩm</a:t>
            </a:r>
            <a:r>
              <a:rPr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.</a:t>
            </a:r>
          </a:p>
          <a:p>
            <a:pPr marL="0" indent="328930" algn="just" defTabSz="2667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D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o kiến thức và kinh nghiệm thực tiễn c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ò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 hạn chế, 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ồ 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 chắc chắn không tr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h khỏi những thiếu s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ó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t. Em k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í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h mong nhận 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ư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ợc sự thông cảm và những g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ó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p 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ý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ch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â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 thành từ qu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ý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Thầy/Cô 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ể c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ó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 thể hoàn thiện h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ơ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 trong t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ươ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g lai.</a:t>
            </a:r>
          </a:p>
          <a:p>
            <a:pPr marL="0" indent="328930" algn="just" defTabSz="2667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Xin tr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â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 trọng cảm </a:t>
            </a:r>
            <a:r>
              <a:rPr lang="en-US" altLang="en-US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ơ</a:t>
            </a:r>
            <a:r>
              <a:rPr lang="en-US" altLang="en-GB" dirty="0">
                <a:solidFill>
                  <a:schemeClr val="tx1"/>
                </a:solidFill>
                <a:effectLst/>
                <a:latin typeface="Times New Roman" panose="02020603050405020304"/>
                <a:ea typeface="Times New Roman" panose="02020603050405020304"/>
              </a:rPr>
              <a:t>n!</a:t>
            </a:r>
          </a:p>
          <a:p>
            <a:pPr marL="0" indent="328930" algn="just" defTabSz="2667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dirty="0">
              <a:solidFill>
                <a:schemeClr val="tx1"/>
              </a:solidFill>
              <a:effectLst/>
              <a:latin typeface="Times New Roman" panose="02020603050405020304"/>
              <a:ea typeface="Times New Roman" panose="02020603050405020304"/>
            </a:endParaRPr>
          </a:p>
        </p:txBody>
      </p:sp>
      <p:pic>
        <p:nvPicPr>
          <p:cNvPr id="8" name="Audio 7">
            <a:hlinkClick r:id="" action="ppaction://media"/>
            <a:extLst>
              <a:ext uri="{FF2B5EF4-FFF2-40B4-BE49-F238E27FC236}">
                <a16:creationId xmlns:a16="http://schemas.microsoft.com/office/drawing/2014/main" id="{46FA07C4-2E51-8D22-3DAD-4A8CB7EB5FDF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</p:cSld>
  <p:clrMapOvr>
    <a:masterClrMapping/>
  </p:clrMapOvr>
  <p:transition spd="slow" advTm="75282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6" y="-9526"/>
            <a:ext cx="12192000" cy="6858000"/>
          </a:xfrm>
          <a:prstGeom prst="rect">
            <a:avLst/>
          </a:prstGeom>
        </p:spPr>
      </p:pic>
      <p:pic>
        <p:nvPicPr>
          <p:cNvPr id="26" name="Graphic 25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 flipH="1" flipV="1">
            <a:off x="8607154" y="3568433"/>
            <a:ext cx="4614862" cy="3251572"/>
          </a:xfrm>
          <a:prstGeom prst="rect">
            <a:avLst/>
          </a:prstGeom>
        </p:spPr>
      </p:pic>
      <p:pic>
        <p:nvPicPr>
          <p:cNvPr id="27" name="Graphic 26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 flipH="1" flipV="1">
            <a:off x="-1007110" y="37465"/>
            <a:ext cx="4614862" cy="3251572"/>
          </a:xfrm>
          <a:prstGeom prst="rect">
            <a:avLst/>
          </a:prstGeom>
        </p:spPr>
      </p:pic>
      <p:pic>
        <p:nvPicPr>
          <p:cNvPr id="8" name="Graphic 7"/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78612" y="0"/>
            <a:ext cx="4513388" cy="9144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095989" y="1478283"/>
            <a:ext cx="65" cy="741678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ct val="120000"/>
              </a:lnSpc>
            </a:pPr>
            <a:endParaRPr lang="en-US" sz="4400" b="1" dirty="0">
              <a:solidFill>
                <a:srgbClr val="014EC4"/>
              </a:solidFill>
              <a:latin typeface="Times New Roman" panose="02020603050405020304"/>
              <a:cs typeface="Times New Roman" panose="02020603050405020304" charset="0"/>
            </a:endParaRPr>
          </a:p>
        </p:txBody>
      </p:sp>
      <p:sp>
        <p:nvSpPr>
          <p:cNvPr id="19" name="Content Placeholder 1"/>
          <p:cNvSpPr>
            <a:spLocks noGrp="1"/>
          </p:cNvSpPr>
          <p:nvPr/>
        </p:nvSpPr>
        <p:spPr>
          <a:xfrm>
            <a:off x="0" y="38100"/>
            <a:ext cx="12192000" cy="1120775"/>
          </a:xfrm>
          <a:prstGeom prst="rect">
            <a:avLst/>
          </a:prstGeom>
        </p:spPr>
        <p:txBody>
          <a:bodyPr vert="horz" lIns="91440" tIns="45720" rIns="91440" bIns="45720" rtlCol="0">
            <a:noAutofit/>
            <a:scene3d>
              <a:camera prst="orthographicFront"/>
              <a:lightRig rig="threePt" dir="t"/>
            </a:scene3d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en-GB" sz="4800" b="1">
                <a:solidFill>
                  <a:srgbClr val="0070C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T</a:t>
            </a:r>
            <a:r>
              <a:rPr lang="en-US" altLang="en-US" sz="4800" b="1">
                <a:solidFill>
                  <a:srgbClr val="0070C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Ó</a:t>
            </a:r>
            <a:r>
              <a:rPr lang="en-US" altLang="en-GB" sz="4800" b="1">
                <a:solidFill>
                  <a:srgbClr val="0070C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M TẮT </a:t>
            </a:r>
            <a:r>
              <a:rPr lang="en-US" altLang="en-US" sz="4800" b="1">
                <a:solidFill>
                  <a:srgbClr val="0070C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Đ</a:t>
            </a:r>
            <a:r>
              <a:rPr lang="en-US" altLang="en-GB" sz="4800" b="1">
                <a:solidFill>
                  <a:srgbClr val="0070C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Ồ </a:t>
            </a:r>
            <a:r>
              <a:rPr lang="en-US" altLang="en-US" sz="4800" b="1">
                <a:solidFill>
                  <a:srgbClr val="0070C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Á</a:t>
            </a:r>
            <a:r>
              <a:rPr lang="en-US" altLang="en-GB" sz="4800" b="1">
                <a:solidFill>
                  <a:srgbClr val="0070C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charset="0"/>
                <a:cs typeface="Times New Roman" panose="02020603050405020304" charset="0"/>
              </a:rPr>
              <a:t>N</a:t>
            </a:r>
          </a:p>
        </p:txBody>
      </p:sp>
      <p:pic>
        <p:nvPicPr>
          <p:cNvPr id="2" name="Graphic 7"/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 flipV="1">
            <a:off x="192" y="5874385"/>
            <a:ext cx="4513388" cy="914400"/>
          </a:xfrm>
          <a:prstGeom prst="rect">
            <a:avLst/>
          </a:prstGeom>
        </p:spPr>
      </p:pic>
      <p:sp>
        <p:nvSpPr>
          <p:cNvPr id="5" name="Text Box 4"/>
          <p:cNvSpPr txBox="1"/>
          <p:nvPr/>
        </p:nvSpPr>
        <p:spPr>
          <a:xfrm>
            <a:off x="0" y="914400"/>
            <a:ext cx="12192000" cy="54927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28930" algn="just" defTabSz="2667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ề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ài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b="1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“</a:t>
            </a:r>
            <a:r>
              <a:rPr lang="en-US" altLang="en-GB" b="1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X</a:t>
            </a:r>
            <a:r>
              <a:rPr lang="en-US" altLang="en-US" b="1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â</a:t>
            </a:r>
            <a:r>
              <a:rPr lang="en-US" altLang="en-GB" b="1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y</a:t>
            </a:r>
            <a:r>
              <a:rPr lang="en-US" altLang="en-GB" b="1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b="1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ựng</a:t>
            </a:r>
            <a:r>
              <a:rPr lang="en-US" altLang="en-GB" b="1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Website </a:t>
            </a:r>
            <a:r>
              <a:rPr lang="en-US" altLang="en-GB" b="1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b</a:t>
            </a:r>
            <a:r>
              <a:rPr lang="en-US" altLang="en-US" b="1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b="1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GB" b="1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b="1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giày</a:t>
            </a:r>
            <a:r>
              <a:rPr lang="en-US" altLang="en-GB" b="1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”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bằ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ASP.NET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ư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ợ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ự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iệ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ới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mụ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i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ê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u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h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iể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một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ệ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ố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ươ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mại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iệ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ử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ỗ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ợ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oạt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ộ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mua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b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giày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ự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uyế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ừa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á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ứ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u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ầu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ự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iễ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ừa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gi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ú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sin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i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ê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ậ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ụ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iế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ứ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ã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ọ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ào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ự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àn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. Trong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qu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ì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hi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ê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ứu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em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ã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iế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àn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h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â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í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y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ê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u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ầu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ệ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ố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à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x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ịn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hứ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ă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ốt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l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õ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i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ư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quả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l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ý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sả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hẩm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giỏ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à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ặt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à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quả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l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ý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h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à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à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quả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ị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ệ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ố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. ASP.NET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ư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ợ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lựa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họ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làm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ề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ả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h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iể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ờ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hả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ă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í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ợp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ốt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ới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SQL Server,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í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bảo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mật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ao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à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ỗ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ợ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ầy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ủ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ho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x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â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y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ự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ứ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ụ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web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iệ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ại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.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ệ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ố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ư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ợ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iể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hai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eo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mô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ì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ba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lớp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ằm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ảm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bảo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hả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ă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mở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rộ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à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ễ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à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bảo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ì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ồ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ời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ơ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sở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ữ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liệu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ư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ợ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iết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ế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ới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rà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buộ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ợp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l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ý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ể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uy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ì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í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oà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ẹ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ữ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liệu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.</a:t>
            </a:r>
          </a:p>
          <a:p>
            <a:pPr marL="0" indent="328930" algn="just" defTabSz="2667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ết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quả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ủa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ồ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là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một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website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oà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hỉn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ho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h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é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ư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ời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ù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ă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ý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ă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ập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ì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m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iếm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sả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hẩm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ê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m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ào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giỏ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à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ặt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à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à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eo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õ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i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ì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ạ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ơ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à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o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hi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quả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ị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i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ê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ó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ể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quả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l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ý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an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mụ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sả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hẩm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h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à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à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ơ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à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. Giao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iệ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ư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ợ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x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â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y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ự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ự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qua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â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iệ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ới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ư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ời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ù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à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ỗ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ợ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í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ă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ì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m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iếm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h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â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a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lọ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sả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hẩm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đ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ể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â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ao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ải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hiệm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. Thông qua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qu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ì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ự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iệ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em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hô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hỉ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ủ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ố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iế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ứ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ề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ASP.NET, SQL,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mô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ì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h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riể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ứ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ụ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web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mà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ò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r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è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luyệ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ỹ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ă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h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â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í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h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iết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kế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hệ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ố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ũ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g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h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ư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ổ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chứ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và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quả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l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ý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một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dự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US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á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phần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mềm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hực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en-US" altLang="en-GB" dirty="0" err="1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tế</a:t>
            </a:r>
            <a:r>
              <a:rPr lang="en-US" altLang="en-GB" dirty="0">
                <a:solidFill>
                  <a:srgbClr val="000000"/>
                </a:solidFill>
                <a:latin typeface="Times New Roman" panose="02020603050405020304"/>
                <a:ea typeface="Times New Roman" panose="02020603050405020304"/>
              </a:rPr>
              <a:t>.</a:t>
            </a:r>
          </a:p>
          <a:p>
            <a:pPr marL="0" indent="328930" algn="just" defTabSz="2667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altLang="en-GB" dirty="0">
              <a:solidFill>
                <a:srgbClr val="000000"/>
              </a:solidFill>
              <a:latin typeface="Times New Roman" panose="02020603050405020304"/>
              <a:ea typeface="Times New Roman" panose="02020603050405020304"/>
            </a:endParaRPr>
          </a:p>
        </p:txBody>
      </p:sp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2BD31BC6-5A92-D702-A4AF-E473DDF0E7D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</p:cSld>
  <p:clrMapOvr>
    <a:masterClrMapping/>
  </p:clrMapOvr>
  <p:transition spd="slow" advTm="74383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 Diagonal Corner Rectangle 12"/>
          <p:cNvSpPr/>
          <p:nvPr/>
        </p:nvSpPr>
        <p:spPr>
          <a:xfrm>
            <a:off x="69215" y="98425"/>
            <a:ext cx="1724025" cy="6670040"/>
          </a:xfrm>
          <a:prstGeom prst="round2DiagRect">
            <a:avLst/>
          </a:prstGeom>
          <a:solidFill>
            <a:schemeClr val="bg1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en-US" sz="3200" b="1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/>
                <a:cs typeface="Times New Roman" panose="02020603050405020304" charset="0"/>
              </a:rPr>
              <a:t>Đ</a:t>
            </a:r>
            <a:r>
              <a:rPr lang="en-US" altLang="en-GB" sz="3200" b="1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/>
                <a:cs typeface="Times New Roman" panose="02020603050405020304" charset="0"/>
              </a:rPr>
              <a:t>Ồ </a:t>
            </a:r>
            <a:r>
              <a:rPr lang="en-US" altLang="en-US" sz="3200" b="1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/>
                <a:cs typeface="Times New Roman" panose="02020603050405020304" charset="0"/>
              </a:rPr>
              <a:t>Á</a:t>
            </a:r>
            <a:r>
              <a:rPr lang="en-US" altLang="en-GB" sz="3200" b="1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/>
                <a:cs typeface="Times New Roman" panose="02020603050405020304" charset="0"/>
              </a:rPr>
              <a:t>N</a:t>
            </a:r>
          </a:p>
          <a:p>
            <a:pPr algn="ctr"/>
            <a:r>
              <a:rPr lang="en-US" altLang="en-GB" sz="2400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/>
                <a:cs typeface="Times New Roman" panose="02020603050405020304" charset="0"/>
              </a:rPr>
              <a:t>XÂY DỰNG WEBSITE</a:t>
            </a:r>
          </a:p>
          <a:p>
            <a:pPr algn="ctr"/>
            <a:r>
              <a:rPr lang="en-US" altLang="en-GB" sz="2200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/>
                <a:cs typeface="Times New Roman" panose="02020603050405020304" charset="0"/>
              </a:rPr>
              <a:t>B</a:t>
            </a:r>
            <a:r>
              <a:rPr lang="en-US" altLang="en-US" sz="2200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/>
                <a:cs typeface="Times New Roman" panose="02020603050405020304" charset="0"/>
              </a:rPr>
              <a:t>Á</a:t>
            </a:r>
            <a:r>
              <a:rPr lang="en-US" altLang="en-GB" sz="2200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/>
                <a:cs typeface="Times New Roman" panose="02020603050405020304" charset="0"/>
              </a:rPr>
              <a:t>N GI</a:t>
            </a:r>
            <a:r>
              <a:rPr lang="en-US" altLang="en-US" sz="2200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/>
                <a:cs typeface="Times New Roman" panose="02020603050405020304" charset="0"/>
              </a:rPr>
              <a:t>À</a:t>
            </a:r>
            <a:r>
              <a:rPr lang="en-US" altLang="en-GB" sz="2200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charset="0"/>
                <a:ea typeface="Times New Roman" panose="02020603050405020304"/>
                <a:cs typeface="Times New Roman" panose="02020603050405020304" charset="0"/>
              </a:rPr>
              <a:t>Y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793240" y="410210"/>
            <a:ext cx="10332085" cy="881380"/>
            <a:chOff x="2824" y="155"/>
            <a:chExt cx="16271" cy="1388"/>
          </a:xfrm>
        </p:grpSpPr>
        <p:sp>
          <p:nvSpPr>
            <p:cNvPr id="14" name="Right Arrow 13"/>
            <p:cNvSpPr/>
            <p:nvPr/>
          </p:nvSpPr>
          <p:spPr>
            <a:xfrm>
              <a:off x="2824" y="828"/>
              <a:ext cx="1026" cy="158"/>
            </a:xfrm>
            <a:prstGeom prst="rightArrow">
              <a:avLst/>
            </a:prstGeom>
            <a:solidFill>
              <a:srgbClr val="7030A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altLang="en-US" b="1">
                <a:solidFill>
                  <a:srgbClr val="7030A0"/>
                </a:solidFill>
              </a:endParaRPr>
            </a:p>
          </p:txBody>
        </p:sp>
        <p:sp>
          <p:nvSpPr>
            <p:cNvPr id="3" name="Rounded Rectangle 2"/>
            <p:cNvSpPr/>
            <p:nvPr/>
          </p:nvSpPr>
          <p:spPr>
            <a:xfrm>
              <a:off x="3865" y="155"/>
              <a:ext cx="15230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l"/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CH</a:t>
              </a:r>
              <a:r>
                <a:rPr lang="en-US" altLang="en-US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ƯƠ</a:t>
              </a:r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NG 1: TỔNG QUAN 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802765" y="1711325"/>
            <a:ext cx="10332085" cy="881380"/>
            <a:chOff x="2824" y="155"/>
            <a:chExt cx="16271" cy="1388"/>
          </a:xfrm>
        </p:grpSpPr>
        <p:sp>
          <p:nvSpPr>
            <p:cNvPr id="6" name="Right Arrow 5"/>
            <p:cNvSpPr/>
            <p:nvPr/>
          </p:nvSpPr>
          <p:spPr>
            <a:xfrm>
              <a:off x="2824" y="828"/>
              <a:ext cx="1026" cy="158"/>
            </a:xfrm>
            <a:prstGeom prst="rightArrow">
              <a:avLst/>
            </a:prstGeom>
            <a:solidFill>
              <a:srgbClr val="7030A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GB" altLang="en-US" b="1">
                <a:solidFill>
                  <a:srgbClr val="7030A0"/>
                </a:solidFill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3865" y="155"/>
              <a:ext cx="15230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l"/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CH</a:t>
              </a:r>
              <a:r>
                <a:rPr lang="en-US" altLang="en-US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ƯƠ</a:t>
              </a:r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NG 2: NGHI</a:t>
              </a:r>
              <a:r>
                <a:rPr lang="en-US" altLang="en-US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Ê</a:t>
              </a:r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N CỨU L</a:t>
              </a:r>
              <a:r>
                <a:rPr lang="en-US" altLang="en-US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Ý</a:t>
              </a:r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 THUYẾT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802765" y="3012440"/>
            <a:ext cx="10332085" cy="881380"/>
            <a:chOff x="2824" y="155"/>
            <a:chExt cx="16271" cy="1388"/>
          </a:xfrm>
        </p:grpSpPr>
        <p:sp>
          <p:nvSpPr>
            <p:cNvPr id="12" name="Right Arrow 11"/>
            <p:cNvSpPr/>
            <p:nvPr/>
          </p:nvSpPr>
          <p:spPr>
            <a:xfrm>
              <a:off x="2824" y="828"/>
              <a:ext cx="1026" cy="158"/>
            </a:xfrm>
            <a:prstGeom prst="rightArrow">
              <a:avLst/>
            </a:prstGeom>
            <a:solidFill>
              <a:srgbClr val="7030A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GB" altLang="en-US" b="1">
                <a:solidFill>
                  <a:srgbClr val="7030A0"/>
                </a:solidFill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3865" y="155"/>
              <a:ext cx="15230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l"/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CH</a:t>
              </a:r>
              <a:r>
                <a:rPr lang="en-US" altLang="en-US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ƯƠ</a:t>
              </a:r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NG 3: HIỆN THỰC H</a:t>
              </a:r>
              <a:r>
                <a:rPr lang="en-US" altLang="en-US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Ó</a:t>
              </a:r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A NGHI</a:t>
              </a:r>
              <a:r>
                <a:rPr lang="en-US" altLang="en-US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Ê</a:t>
              </a:r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N CỨU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802765" y="4313555"/>
            <a:ext cx="10332085" cy="881380"/>
            <a:chOff x="2824" y="155"/>
            <a:chExt cx="16271" cy="1388"/>
          </a:xfrm>
        </p:grpSpPr>
        <p:sp>
          <p:nvSpPr>
            <p:cNvPr id="22" name="Right Arrow 21"/>
            <p:cNvSpPr/>
            <p:nvPr/>
          </p:nvSpPr>
          <p:spPr>
            <a:xfrm>
              <a:off x="2824" y="828"/>
              <a:ext cx="1026" cy="158"/>
            </a:xfrm>
            <a:prstGeom prst="rightArrow">
              <a:avLst/>
            </a:prstGeom>
            <a:solidFill>
              <a:srgbClr val="7030A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GB" altLang="en-US" b="1">
                <a:solidFill>
                  <a:srgbClr val="7030A0"/>
                </a:solidFill>
              </a:endParaRPr>
            </a:p>
          </p:txBody>
        </p:sp>
        <p:sp>
          <p:nvSpPr>
            <p:cNvPr id="23" name="Rounded Rectangle 22"/>
            <p:cNvSpPr/>
            <p:nvPr/>
          </p:nvSpPr>
          <p:spPr>
            <a:xfrm>
              <a:off x="3865" y="155"/>
              <a:ext cx="15230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l"/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CH</a:t>
              </a:r>
              <a:r>
                <a:rPr lang="en-US" altLang="en-US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ƯƠ</a:t>
              </a:r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NG 4: KẾT QUẢ NGHI</a:t>
              </a:r>
              <a:r>
                <a:rPr lang="en-US" altLang="en-US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Ê</a:t>
              </a:r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N CỨU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1802765" y="5614670"/>
            <a:ext cx="10332085" cy="881380"/>
            <a:chOff x="2824" y="155"/>
            <a:chExt cx="16271" cy="1388"/>
          </a:xfrm>
        </p:grpSpPr>
        <p:sp>
          <p:nvSpPr>
            <p:cNvPr id="25" name="Right Arrow 24"/>
            <p:cNvSpPr/>
            <p:nvPr/>
          </p:nvSpPr>
          <p:spPr>
            <a:xfrm>
              <a:off x="2824" y="828"/>
              <a:ext cx="1026" cy="158"/>
            </a:xfrm>
            <a:prstGeom prst="rightArrow">
              <a:avLst/>
            </a:prstGeom>
            <a:solidFill>
              <a:srgbClr val="7030A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GB" altLang="en-US" b="1">
                <a:solidFill>
                  <a:srgbClr val="7030A0"/>
                </a:solidFill>
              </a:endParaRP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3865" y="155"/>
              <a:ext cx="15230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l"/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CH</a:t>
              </a:r>
              <a:r>
                <a:rPr lang="en-US" altLang="en-US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ƯƠ</a:t>
              </a:r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NG 5: KẾT LUẬN V</a:t>
              </a:r>
              <a:r>
                <a:rPr lang="en-US" altLang="en-US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À</a:t>
              </a:r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 H</a:t>
              </a:r>
              <a:r>
                <a:rPr lang="en-US" altLang="en-US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Ư</a:t>
              </a:r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ỚNG PH</a:t>
              </a:r>
              <a:r>
                <a:rPr lang="en-US" altLang="en-US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Á</a:t>
              </a:r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T TRIỂN</a:t>
              </a:r>
            </a:p>
          </p:txBody>
        </p:sp>
      </p:grpSp>
      <p:pic>
        <p:nvPicPr>
          <p:cNvPr id="7" name="Audio 6">
            <a:hlinkClick r:id="" action="ppaction://media"/>
            <a:extLst>
              <a:ext uri="{FF2B5EF4-FFF2-40B4-BE49-F238E27FC236}">
                <a16:creationId xmlns:a16="http://schemas.microsoft.com/office/drawing/2014/main" id="{EB3D61E0-102C-0ABC-5C46-6177C88B548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</p:cSld>
  <p:clrMapOvr>
    <a:masterClrMapping/>
  </p:clrMapOvr>
  <p:transition spd="slow" advTm="14045">
    <p:wheel spokes="8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8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8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8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8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2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4000"/>
                            </p:stCondLst>
                            <p:childTnLst>
                              <p:par>
                                <p:cTn id="24" presetID="18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2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2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>
            <p:custDataLst>
              <p:tags r:id="rId2"/>
            </p:custDataLst>
          </p:nvPr>
        </p:nvGrpSpPr>
        <p:grpSpPr>
          <a:xfrm>
            <a:off x="61595" y="1397635"/>
            <a:ext cx="12049125" cy="1155065"/>
            <a:chOff x="101" y="138"/>
            <a:chExt cx="19099" cy="2054"/>
          </a:xfrm>
        </p:grpSpPr>
        <p:sp>
          <p:nvSpPr>
            <p:cNvPr id="22" name="Rounded Rectangle 21"/>
            <p:cNvSpPr/>
            <p:nvPr>
              <p:custDataLst>
                <p:tags r:id="rId17"/>
              </p:custDataLst>
            </p:nvPr>
          </p:nvSpPr>
          <p:spPr>
            <a:xfrm>
              <a:off x="101" y="138"/>
              <a:ext cx="2958" cy="2055"/>
            </a:xfrm>
            <a:prstGeom prst="roundRect">
              <a:avLst/>
            </a:prstGeom>
            <a:ln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0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L</a:t>
              </a:r>
              <a:r>
                <a:rPr lang="en-US" altLang="en-US" sz="20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ý</a:t>
              </a:r>
              <a:r>
                <a:rPr lang="en-US" sz="20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 do </a:t>
              </a:r>
            </a:p>
            <a:p>
              <a:pPr algn="ctr"/>
              <a:r>
                <a:rPr lang="en-US" sz="20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ch</a:t>
              </a:r>
              <a:r>
                <a:rPr lang="en-US" altLang="en-GB" sz="20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ọn </a:t>
              </a:r>
              <a:r>
                <a:rPr lang="en-US" altLang="en-US" sz="20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đ</a:t>
              </a:r>
              <a:r>
                <a:rPr lang="en-US" altLang="en-GB" sz="20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ề tài</a:t>
              </a:r>
            </a:p>
          </p:txBody>
        </p:sp>
        <p:sp>
          <p:nvSpPr>
            <p:cNvPr id="25" name="Rounded Rectangle 24"/>
            <p:cNvSpPr/>
            <p:nvPr>
              <p:custDataLst>
                <p:tags r:id="rId18"/>
              </p:custDataLst>
            </p:nvPr>
          </p:nvSpPr>
          <p:spPr>
            <a:xfrm>
              <a:off x="4380" y="138"/>
              <a:ext cx="14820" cy="2055"/>
            </a:xfrm>
            <a:prstGeom prst="roundRect">
              <a:avLst/>
            </a:prstGeom>
            <a:ln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t" anchorCtr="0"/>
            <a:lstStyle/>
            <a:p>
              <a:pPr algn="just">
                <a:lnSpc>
                  <a:spcPct val="100000"/>
                </a:lnSpc>
              </a:pP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- Th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ươ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g mại 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đ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iện tử ph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á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t triển mạnh mẽ, mua sắm trực tuyến tiện lợi, nhanh ch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ó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g và 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đ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a dạng sản phẩm (quần 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á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o,  giày d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é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p...).</a:t>
              </a:r>
            </a:p>
            <a:p>
              <a:pPr algn="just">
                <a:lnSpc>
                  <a:spcPct val="110000"/>
                </a:lnSpc>
              </a:pP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- Nhiều cửa hàng nhỏ và vừa ch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ư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a c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ó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 hệ thống b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á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 hàng trực tuyến chuy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ê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 nghiệp, g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â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y hạn chế trong việc tiếp cận kh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á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ch hàng. </a:t>
              </a:r>
            </a:p>
            <a:p>
              <a:pPr algn="just">
                <a:lnSpc>
                  <a:spcPct val="120000"/>
                </a:lnSpc>
              </a:pPr>
              <a:endParaRPr lang="en-US" altLang="en-GB" sz="1600">
                <a:solidFill>
                  <a:srgbClr val="FF0000"/>
                </a:solidFill>
                <a:effectLst/>
                <a:latin typeface="Times New Roman" panose="02020603050405020304" charset="0"/>
                <a:ea typeface="Times New Roman" panose="02020603050405020304"/>
                <a:cs typeface="Times New Roman" panose="02020603050405020304" charset="0"/>
                <a:sym typeface="+mn-ea"/>
              </a:endParaRPr>
            </a:p>
          </p:txBody>
        </p:sp>
        <p:sp>
          <p:nvSpPr>
            <p:cNvPr id="27" name="Right Arrow 26"/>
            <p:cNvSpPr/>
            <p:nvPr>
              <p:custDataLst>
                <p:tags r:id="rId19"/>
              </p:custDataLst>
            </p:nvPr>
          </p:nvSpPr>
          <p:spPr>
            <a:xfrm>
              <a:off x="3062" y="853"/>
              <a:ext cx="1311" cy="411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altLang="en-US" sz="1400">
                <a:solidFill>
                  <a:srgbClr val="FF0000"/>
                </a:solidFill>
                <a:effectLst/>
                <a:latin typeface="Times New Roman" panose="02020603050405020304" charset="0"/>
                <a:cs typeface="Times New Roman" panose="02020603050405020304" charset="0"/>
              </a:endParaRPr>
            </a:p>
          </p:txBody>
        </p:sp>
      </p:grpSp>
      <p:grpSp>
        <p:nvGrpSpPr>
          <p:cNvPr id="29" name="Group 28"/>
          <p:cNvGrpSpPr/>
          <p:nvPr>
            <p:custDataLst>
              <p:tags r:id="rId3"/>
            </p:custDataLst>
          </p:nvPr>
        </p:nvGrpSpPr>
        <p:grpSpPr>
          <a:xfrm>
            <a:off x="61595" y="2755265"/>
            <a:ext cx="12049125" cy="1118870"/>
            <a:chOff x="101" y="138"/>
            <a:chExt cx="19099" cy="2054"/>
          </a:xfrm>
        </p:grpSpPr>
        <p:sp>
          <p:nvSpPr>
            <p:cNvPr id="30" name="Rounded Rectangle 29"/>
            <p:cNvSpPr/>
            <p:nvPr>
              <p:custDataLst>
                <p:tags r:id="rId14"/>
              </p:custDataLst>
            </p:nvPr>
          </p:nvSpPr>
          <p:spPr>
            <a:xfrm>
              <a:off x="101" y="138"/>
              <a:ext cx="2958" cy="2055"/>
            </a:xfrm>
            <a:prstGeom prst="roundRect">
              <a:avLst/>
            </a:prstGeom>
            <a:ln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0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Mục ti</a:t>
              </a:r>
              <a:r>
                <a:rPr lang="en-US" altLang="en-US" sz="20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êu nghiên c</a:t>
              </a:r>
              <a:r>
                <a:rPr lang="en-US" altLang="en-GB" sz="20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ứu</a:t>
              </a:r>
            </a:p>
          </p:txBody>
        </p:sp>
        <p:sp>
          <p:nvSpPr>
            <p:cNvPr id="31" name="Rounded Rectangle 30"/>
            <p:cNvSpPr/>
            <p:nvPr>
              <p:custDataLst>
                <p:tags r:id="rId15"/>
              </p:custDataLst>
            </p:nvPr>
          </p:nvSpPr>
          <p:spPr>
            <a:xfrm>
              <a:off x="4380" y="138"/>
              <a:ext cx="14820" cy="2055"/>
            </a:xfrm>
            <a:prstGeom prst="roundRect">
              <a:avLst/>
            </a:prstGeom>
            <a:ln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t" anchorCtr="0"/>
            <a:lstStyle/>
            <a:p>
              <a:pPr algn="just">
                <a:lnSpc>
                  <a:spcPct val="100000"/>
                </a:lnSpc>
              </a:pPr>
              <a:r>
                <a:rPr 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- 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X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â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y dựng một website th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ươ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g mại 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đ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iện tử c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ơ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 bản phục vụ việc mua b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á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 giày trực tuyến.</a:t>
              </a:r>
            </a:p>
            <a:p>
              <a:pPr algn="just">
                <a:lnSpc>
                  <a:spcPct val="100000"/>
                </a:lnSpc>
              </a:pP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- 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Đá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p ứng 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đư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ợc c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á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c chức n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ă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g ch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í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h nh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ư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 hiển thị và quản l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ý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 sản phẩm, hỗ trợ t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ì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m kiếm và 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đ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ặt hàng, cung cấp giỏ hàng cho ng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ư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ời d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ù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g</a:t>
              </a:r>
              <a:r>
                <a:rPr 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...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 h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ư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ớng tới giao diện th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â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 thiện, dễ sử dụng, 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đ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ảm bảo mang t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í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h toàn vẹn và bảo mật dữ liệu.</a:t>
              </a:r>
            </a:p>
          </p:txBody>
        </p:sp>
        <p:sp>
          <p:nvSpPr>
            <p:cNvPr id="32" name="Right Arrow 31"/>
            <p:cNvSpPr/>
            <p:nvPr>
              <p:custDataLst>
                <p:tags r:id="rId16"/>
              </p:custDataLst>
            </p:nvPr>
          </p:nvSpPr>
          <p:spPr>
            <a:xfrm>
              <a:off x="3062" y="853"/>
              <a:ext cx="1311" cy="411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altLang="en-US" sz="1400">
                <a:solidFill>
                  <a:srgbClr val="FF0000"/>
                </a:solidFill>
                <a:effectLst/>
                <a:latin typeface="Times New Roman" panose="02020603050405020304" charset="0"/>
                <a:cs typeface="Times New Roman" panose="02020603050405020304" charset="0"/>
              </a:endParaRPr>
            </a:p>
          </p:txBody>
        </p:sp>
      </p:grpSp>
      <p:grpSp>
        <p:nvGrpSpPr>
          <p:cNvPr id="33" name="Group 32"/>
          <p:cNvGrpSpPr/>
          <p:nvPr>
            <p:custDataLst>
              <p:tags r:id="rId4"/>
            </p:custDataLst>
          </p:nvPr>
        </p:nvGrpSpPr>
        <p:grpSpPr>
          <a:xfrm>
            <a:off x="58420" y="4077335"/>
            <a:ext cx="12049125" cy="1148080"/>
            <a:chOff x="101" y="138"/>
            <a:chExt cx="19099" cy="2054"/>
          </a:xfrm>
        </p:grpSpPr>
        <p:sp>
          <p:nvSpPr>
            <p:cNvPr id="34" name="Rounded Rectangle 33"/>
            <p:cNvSpPr/>
            <p:nvPr>
              <p:custDataLst>
                <p:tags r:id="rId11"/>
              </p:custDataLst>
            </p:nvPr>
          </p:nvSpPr>
          <p:spPr>
            <a:xfrm>
              <a:off x="101" y="138"/>
              <a:ext cx="2958" cy="2055"/>
            </a:xfrm>
            <a:prstGeom prst="roundRect">
              <a:avLst/>
            </a:prstGeom>
            <a:ln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0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Phạm vi nghi</a:t>
              </a:r>
              <a:r>
                <a:rPr lang="en-US" altLang="en-US" sz="20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ên c</a:t>
              </a:r>
              <a:r>
                <a:rPr lang="en-US" altLang="en-GB" sz="20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ứu, triển khai</a:t>
              </a:r>
            </a:p>
          </p:txBody>
        </p:sp>
        <p:sp>
          <p:nvSpPr>
            <p:cNvPr id="35" name="Rounded Rectangle 34"/>
            <p:cNvSpPr/>
            <p:nvPr>
              <p:custDataLst>
                <p:tags r:id="rId12"/>
              </p:custDataLst>
            </p:nvPr>
          </p:nvSpPr>
          <p:spPr>
            <a:xfrm>
              <a:off x="4380" y="138"/>
              <a:ext cx="14820" cy="2055"/>
            </a:xfrm>
            <a:prstGeom prst="roundRect">
              <a:avLst/>
            </a:prstGeom>
            <a:ln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t" anchorCtr="0"/>
            <a:lstStyle/>
            <a:p>
              <a:pPr algn="just">
                <a:lnSpc>
                  <a:spcPct val="100000"/>
                </a:lnSpc>
              </a:pPr>
              <a:r>
                <a:rPr 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- Q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uy tr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ì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h thiết kế và x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â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y dựng một hệ thống website b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á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 hàng trực tuyến. </a:t>
              </a:r>
            </a:p>
            <a:p>
              <a:pPr algn="just">
                <a:lnSpc>
                  <a:spcPct val="100000"/>
                </a:lnSpc>
              </a:pP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- Về phạm vi ng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ư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ời d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ù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g (kh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á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ch hàng và admin), phạm vi chức n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ă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g (Quản l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ý</a:t>
              </a:r>
              <a:r>
                <a:rPr 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, 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t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ì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m kiếm và lọc sản phẩm, chức n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ă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g giỏ hàng và 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đ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ặt hàng trực tuyến...), phạm vi kỹ thuật 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đ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ảm bảo t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í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h t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ươ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g th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í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ch và trải nghiệm tốt tr</a:t>
              </a:r>
              <a:r>
                <a:rPr lang="en-US" altLang="en-US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ê</a:t>
              </a: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n nhiều thiết bị.</a:t>
              </a:r>
            </a:p>
          </p:txBody>
        </p:sp>
        <p:sp>
          <p:nvSpPr>
            <p:cNvPr id="36" name="Right Arrow 35"/>
            <p:cNvSpPr/>
            <p:nvPr>
              <p:custDataLst>
                <p:tags r:id="rId13"/>
              </p:custDataLst>
            </p:nvPr>
          </p:nvSpPr>
          <p:spPr>
            <a:xfrm>
              <a:off x="3062" y="853"/>
              <a:ext cx="1311" cy="411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altLang="en-US" sz="1400">
                <a:solidFill>
                  <a:srgbClr val="FF0000"/>
                </a:solidFill>
                <a:effectLst/>
                <a:latin typeface="Times New Roman" panose="02020603050405020304" charset="0"/>
                <a:cs typeface="Times New Roman" panose="02020603050405020304" charset="0"/>
              </a:endParaRPr>
            </a:p>
          </p:txBody>
        </p:sp>
      </p:grpSp>
      <p:grpSp>
        <p:nvGrpSpPr>
          <p:cNvPr id="44" name="Group 43"/>
          <p:cNvGrpSpPr/>
          <p:nvPr>
            <p:custDataLst>
              <p:tags r:id="rId5"/>
            </p:custDataLst>
          </p:nvPr>
        </p:nvGrpSpPr>
        <p:grpSpPr>
          <a:xfrm>
            <a:off x="61595" y="5429250"/>
            <a:ext cx="12049125" cy="1114425"/>
            <a:chOff x="101" y="138"/>
            <a:chExt cx="19099" cy="2054"/>
          </a:xfrm>
        </p:grpSpPr>
        <p:sp>
          <p:nvSpPr>
            <p:cNvPr id="45" name="Rounded Rectangle 44"/>
            <p:cNvSpPr/>
            <p:nvPr>
              <p:custDataLst>
                <p:tags r:id="rId8"/>
              </p:custDataLst>
            </p:nvPr>
          </p:nvSpPr>
          <p:spPr>
            <a:xfrm>
              <a:off x="101" y="138"/>
              <a:ext cx="2958" cy="2055"/>
            </a:xfrm>
            <a:prstGeom prst="roundRect">
              <a:avLst/>
            </a:prstGeom>
            <a:ln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0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Công nghệ </a:t>
              </a:r>
            </a:p>
            <a:p>
              <a:pPr algn="ctr"/>
              <a:r>
                <a:rPr lang="en-US" altLang="en-GB" sz="20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cs typeface="Times New Roman" panose="02020603050405020304" charset="0"/>
                  <a:sym typeface="+mn-ea"/>
                </a:rPr>
                <a:t>sử dụng</a:t>
              </a:r>
            </a:p>
          </p:txBody>
        </p:sp>
        <p:sp>
          <p:nvSpPr>
            <p:cNvPr id="46" name="Rounded Rectangle 45"/>
            <p:cNvSpPr/>
            <p:nvPr>
              <p:custDataLst>
                <p:tags r:id="rId9"/>
              </p:custDataLst>
            </p:nvPr>
          </p:nvSpPr>
          <p:spPr>
            <a:xfrm>
              <a:off x="4380" y="138"/>
              <a:ext cx="14820" cy="2055"/>
            </a:xfrm>
            <a:prstGeom prst="roundRect">
              <a:avLst/>
            </a:prstGeom>
            <a:ln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t" anchorCtr="0"/>
            <a:lstStyle/>
            <a:p>
              <a:pPr algn="just">
                <a:lnSpc>
                  <a:spcPct val="100000"/>
                </a:lnSpc>
              </a:pP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- ASP.NET Framework.</a:t>
              </a:r>
            </a:p>
            <a:p>
              <a:pPr algn="just">
                <a:lnSpc>
                  <a:spcPct val="100000"/>
                </a:lnSpc>
              </a:pP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- Microsoft SQL Server.</a:t>
              </a:r>
            </a:p>
            <a:p>
              <a:pPr algn="just">
                <a:lnSpc>
                  <a:spcPct val="100000"/>
                </a:lnSpc>
              </a:pP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- Visual Studio.</a:t>
              </a:r>
            </a:p>
            <a:p>
              <a:pPr algn="just">
                <a:lnSpc>
                  <a:spcPct val="100000"/>
                </a:lnSpc>
              </a:pPr>
              <a:r>
                <a:rPr lang="en-US" altLang="en-GB" sz="1600">
                  <a:solidFill>
                    <a:srgbClr val="FF0000"/>
                  </a:solidFill>
                  <a:effectLst/>
                  <a:latin typeface="Times New Roman" panose="02020603050405020304" charset="0"/>
                  <a:ea typeface="Times New Roman" panose="02020603050405020304"/>
                  <a:cs typeface="Times New Roman" panose="02020603050405020304" charset="0"/>
                  <a:sym typeface="+mn-ea"/>
                </a:rPr>
                <a:t>- HTML và CSS.</a:t>
              </a:r>
            </a:p>
          </p:txBody>
        </p:sp>
        <p:sp>
          <p:nvSpPr>
            <p:cNvPr id="47" name="Right Arrow 46"/>
            <p:cNvSpPr/>
            <p:nvPr>
              <p:custDataLst>
                <p:tags r:id="rId10"/>
              </p:custDataLst>
            </p:nvPr>
          </p:nvSpPr>
          <p:spPr>
            <a:xfrm>
              <a:off x="3062" y="853"/>
              <a:ext cx="1311" cy="411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altLang="en-US" sz="1400">
                <a:solidFill>
                  <a:srgbClr val="FF0000"/>
                </a:solidFill>
                <a:effectLst/>
                <a:latin typeface="Times New Roman" panose="02020603050405020304" charset="0"/>
                <a:cs typeface="Times New Roman" panose="02020603050405020304" charset="0"/>
              </a:endParaRPr>
            </a:p>
          </p:txBody>
        </p:sp>
      </p:grpSp>
      <p:sp>
        <p:nvSpPr>
          <p:cNvPr id="3" name="Rounded Rectangle 2"/>
          <p:cNvSpPr/>
          <p:nvPr/>
        </p:nvSpPr>
        <p:spPr>
          <a:xfrm>
            <a:off x="61595" y="98425"/>
            <a:ext cx="12063730" cy="88138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C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G 1: TỔNG QUAN</a:t>
            </a:r>
            <a:r>
              <a:rPr lang="en-US" altLang="en-GB" sz="2800" b="1">
                <a:solidFill>
                  <a:srgbClr val="7030A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 </a:t>
            </a:r>
          </a:p>
        </p:txBody>
      </p:sp>
      <p:pic>
        <p:nvPicPr>
          <p:cNvPr id="8" name="Audio 7">
            <a:hlinkClick r:id="" action="ppaction://media"/>
            <a:extLst>
              <a:ext uri="{FF2B5EF4-FFF2-40B4-BE49-F238E27FC236}">
                <a16:creationId xmlns:a16="http://schemas.microsoft.com/office/drawing/2014/main" id="{AC56DD13-E9A1-E2A3-DB71-5066DEDF985A}"/>
              </a:ext>
            </a:extLst>
          </p:cNvPr>
          <p:cNvPicPr>
            <a:picLocks noChangeAspect="1"/>
          </p:cNvPicPr>
          <p:nvPr>
            <a:audioFile r:link="rId7"/>
            <p:extLst>
              <p:ext uri="{DAA4B4D4-6D71-4841-9C94-3DE7FCFB9230}">
                <p14:media xmlns:p14="http://schemas.microsoft.com/office/powerpoint/2010/main" r:embed="rId6"/>
              </p:ext>
            </p:extLst>
          </p:nvPr>
        </p:nvPicPr>
        <p:blipFill>
          <a:blip r:embed="rId21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med" advTm="65484">
    <p:newsfla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2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61595" y="98425"/>
            <a:ext cx="12063730" cy="88138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C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G 2: NGHI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Ê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 CỨU L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Ý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 THUYẾT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1595" y="1130300"/>
            <a:ext cx="5139690" cy="5586095"/>
            <a:chOff x="97" y="1780"/>
            <a:chExt cx="8094" cy="8797"/>
          </a:xfrm>
        </p:grpSpPr>
        <p:pic>
          <p:nvPicPr>
            <p:cNvPr id="17" name="Picture 16"/>
            <p:cNvPicPr/>
            <p:nvPr/>
          </p:nvPicPr>
          <p:blipFill>
            <a:blip r:embed="rId9"/>
            <a:srcRect l="2881" t="15056" r="3535" b="1833"/>
            <a:stretch>
              <a:fillRect/>
            </a:stretch>
          </p:blipFill>
          <p:spPr>
            <a:xfrm>
              <a:off x="97" y="1780"/>
              <a:ext cx="8094" cy="7932"/>
            </a:xfrm>
            <a:prstGeom prst="rect">
              <a:avLst/>
            </a:prstGeom>
          </p:spPr>
        </p:pic>
        <p:sp>
          <p:nvSpPr>
            <p:cNvPr id="22" name="Text Box 21"/>
            <p:cNvSpPr txBox="1"/>
            <p:nvPr/>
          </p:nvSpPr>
          <p:spPr>
            <a:xfrm>
              <a:off x="97" y="9949"/>
              <a:ext cx="8095" cy="62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US" altLang="en-US" sz="2000" b="1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Ư</a:t>
              </a:r>
              <a:r>
                <a:rPr lang="en-US" sz="2000" b="1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u </a:t>
              </a:r>
              <a:r>
                <a:rPr lang="en-US" altLang="en-US" sz="2000" b="1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đ</a:t>
              </a:r>
              <a:r>
                <a:rPr lang="en-US" sz="2000" b="1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i</a:t>
              </a:r>
              <a:r>
                <a:rPr lang="en-US" altLang="en-GB" sz="2000" b="1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ểm của ASP.NET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363210" y="1130300"/>
            <a:ext cx="6727190" cy="5586095"/>
            <a:chOff x="8446" y="1780"/>
            <a:chExt cx="10594" cy="8797"/>
          </a:xfrm>
        </p:grpSpPr>
        <p:grpSp>
          <p:nvGrpSpPr>
            <p:cNvPr id="15" name="Group 14"/>
            <p:cNvGrpSpPr/>
            <p:nvPr/>
          </p:nvGrpSpPr>
          <p:grpSpPr>
            <a:xfrm>
              <a:off x="8446" y="1780"/>
              <a:ext cx="10594" cy="7932"/>
              <a:chOff x="5792" y="1671"/>
              <a:chExt cx="13248" cy="9725"/>
            </a:xfrm>
          </p:grpSpPr>
          <p:grpSp>
            <p:nvGrpSpPr>
              <p:cNvPr id="7" name="Group 6"/>
              <p:cNvGrpSpPr/>
              <p:nvPr/>
            </p:nvGrpSpPr>
            <p:grpSpPr>
              <a:xfrm>
                <a:off x="5792" y="1671"/>
                <a:ext cx="6300" cy="4499"/>
                <a:chOff x="5792" y="1671"/>
                <a:chExt cx="6300" cy="4499"/>
              </a:xfrm>
            </p:grpSpPr>
            <p:pic>
              <p:nvPicPr>
                <p:cNvPr id="9" name="Picture 8" descr="Chi phí cao"/>
                <p:cNvPicPr>
                  <a:picLocks noChangeAspect="1"/>
                </p:cNvPicPr>
                <p:nvPr>
                  <p:custDataLst>
                    <p:tags r:id="rId6"/>
                  </p:custDataLst>
                </p:nvPr>
              </p:nvPicPr>
              <p:blipFill>
                <a:blip r:embed="rId10"/>
                <a:srcRect l="7776" t="8322" r="10299" b="5479"/>
                <a:stretch>
                  <a:fillRect/>
                </a:stretch>
              </p:blipFill>
              <p:spPr>
                <a:xfrm>
                  <a:off x="5792" y="1671"/>
                  <a:ext cx="6300" cy="3729"/>
                </a:xfrm>
                <a:prstGeom prst="roundRect">
                  <a:avLst/>
                </a:prstGeom>
              </p:spPr>
            </p:pic>
            <p:sp>
              <p:nvSpPr>
                <p:cNvPr id="10" name="Text Box 9"/>
                <p:cNvSpPr txBox="1"/>
                <p:nvPr>
                  <p:custDataLst>
                    <p:tags r:id="rId7"/>
                  </p:custDataLst>
                </p:nvPr>
              </p:nvSpPr>
              <p:spPr>
                <a:xfrm>
                  <a:off x="5792" y="5400"/>
                  <a:ext cx="6300" cy="77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en-GB" sz="2000">
                      <a:latin typeface="Times New Roman" panose="02020603050405020304" charset="0"/>
                      <a:cs typeface="Times New Roman" panose="02020603050405020304" charset="0"/>
                    </a:rPr>
                    <a:t>Chi ph</a:t>
                  </a:r>
                  <a:r>
                    <a:rPr lang="en-US" altLang="en-US" sz="2000">
                      <a:latin typeface="Times New Roman" panose="02020603050405020304" charset="0"/>
                      <a:cs typeface="Times New Roman" panose="02020603050405020304" charset="0"/>
                    </a:rPr>
                    <a:t>í cao</a:t>
                  </a:r>
                </a:p>
              </p:txBody>
            </p:sp>
          </p:grpSp>
          <p:grpSp>
            <p:nvGrpSpPr>
              <p:cNvPr id="12" name="Group 11"/>
              <p:cNvGrpSpPr/>
              <p:nvPr/>
            </p:nvGrpSpPr>
            <p:grpSpPr>
              <a:xfrm>
                <a:off x="5792" y="6301"/>
                <a:ext cx="6301" cy="5095"/>
                <a:chOff x="5792" y="6301"/>
                <a:chExt cx="6301" cy="5095"/>
              </a:xfrm>
            </p:grpSpPr>
            <p:pic>
              <p:nvPicPr>
                <p:cNvPr id="13" name="Picture 12" descr="phụ thuộc vào hệ sinh thái Microsoft"/>
                <p:cNvPicPr>
                  <a:picLocks noChangeAspect="1"/>
                </p:cNvPicPr>
                <p:nvPr/>
              </p:nvPicPr>
              <p:blipFill>
                <a:blip r:embed="rId11"/>
                <a:srcRect b="6097"/>
                <a:stretch>
                  <a:fillRect/>
                </a:stretch>
              </p:blipFill>
              <p:spPr>
                <a:xfrm>
                  <a:off x="5792" y="6301"/>
                  <a:ext cx="6301" cy="3730"/>
                </a:xfrm>
                <a:prstGeom prst="roundRect">
                  <a:avLst/>
                </a:prstGeom>
              </p:spPr>
            </p:pic>
            <p:sp>
              <p:nvSpPr>
                <p:cNvPr id="16" name="Text Box 15"/>
                <p:cNvSpPr txBox="1"/>
                <p:nvPr/>
              </p:nvSpPr>
              <p:spPr>
                <a:xfrm>
                  <a:off x="5793" y="10031"/>
                  <a:ext cx="6300" cy="13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en-GB" sz="2000">
                      <a:latin typeface="Times New Roman" panose="02020603050405020304" charset="0"/>
                      <a:cs typeface="Times New Roman" panose="02020603050405020304" charset="0"/>
                    </a:rPr>
                    <a:t>Phụ thuộc hệ sinh th</a:t>
                  </a:r>
                  <a:r>
                    <a:rPr lang="en-US" altLang="en-US" sz="2000">
                      <a:latin typeface="Times New Roman" panose="02020603050405020304" charset="0"/>
                      <a:cs typeface="Times New Roman" panose="02020603050405020304" charset="0"/>
                    </a:rPr>
                    <a:t>á</a:t>
                  </a:r>
                  <a:r>
                    <a:rPr lang="en-US" altLang="en-GB" sz="2000">
                      <a:latin typeface="Times New Roman" panose="02020603050405020304" charset="0"/>
                      <a:cs typeface="Times New Roman" panose="02020603050405020304" charset="0"/>
                    </a:rPr>
                    <a:t>i Microsoft</a:t>
                  </a:r>
                </a:p>
              </p:txBody>
            </p:sp>
          </p:grpSp>
          <p:grpSp>
            <p:nvGrpSpPr>
              <p:cNvPr id="19" name="Group 18"/>
              <p:cNvGrpSpPr/>
              <p:nvPr/>
            </p:nvGrpSpPr>
            <p:grpSpPr>
              <a:xfrm>
                <a:off x="12643" y="3241"/>
                <a:ext cx="6397" cy="5813"/>
                <a:chOff x="12643" y="3241"/>
                <a:chExt cx="6397" cy="5813"/>
              </a:xfrm>
            </p:grpSpPr>
            <p:pic>
              <p:nvPicPr>
                <p:cNvPr id="20" name="Picture 19" descr="Độ phức tạp cao của C#"/>
                <p:cNvPicPr>
                  <a:picLocks noChangeAspect="1"/>
                </p:cNvPicPr>
                <p:nvPr>
                  <p:custDataLst>
                    <p:tags r:id="rId4"/>
                  </p:custDataLst>
                </p:nvPr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12740" y="3241"/>
                  <a:ext cx="6300" cy="4319"/>
                </a:xfrm>
                <a:prstGeom prst="roundRect">
                  <a:avLst/>
                </a:prstGeom>
              </p:spPr>
            </p:pic>
            <p:sp>
              <p:nvSpPr>
                <p:cNvPr id="21" name="Text Box 20"/>
                <p:cNvSpPr txBox="1"/>
                <p:nvPr>
                  <p:custDataLst>
                    <p:tags r:id="rId5"/>
                  </p:custDataLst>
                </p:nvPr>
              </p:nvSpPr>
              <p:spPr>
                <a:xfrm>
                  <a:off x="12643" y="7749"/>
                  <a:ext cx="6300" cy="130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en-US" sz="1900">
                      <a:latin typeface="Times New Roman" panose="02020603050405020304" charset="0"/>
                      <a:cs typeface="Times New Roman" panose="02020603050405020304" charset="0"/>
                    </a:rPr>
                    <a:t>Đ</a:t>
                  </a:r>
                  <a:r>
                    <a:rPr lang="en-US" altLang="en-GB" sz="1900">
                      <a:latin typeface="Times New Roman" panose="02020603050405020304" charset="0"/>
                      <a:cs typeface="Times New Roman" panose="02020603050405020304" charset="0"/>
                    </a:rPr>
                    <a:t>ộ phức tạp cao, </a:t>
                  </a:r>
                  <a:r>
                    <a:rPr lang="en-US" altLang="en-US" sz="1900">
                      <a:latin typeface="Times New Roman" panose="02020603050405020304" charset="0"/>
                      <a:cs typeface="Times New Roman" panose="02020603050405020304" charset="0"/>
                    </a:rPr>
                    <a:t>đò</a:t>
                  </a:r>
                  <a:r>
                    <a:rPr lang="en-US" altLang="en-GB" sz="1900">
                      <a:latin typeface="Times New Roman" panose="02020603050405020304" charset="0"/>
                      <a:cs typeface="Times New Roman" panose="02020603050405020304" charset="0"/>
                    </a:rPr>
                    <a:t>i hỏi hiểu biết s</a:t>
                  </a:r>
                  <a:r>
                    <a:rPr lang="en-US" altLang="en-US" sz="1900">
                      <a:latin typeface="Times New Roman" panose="02020603050405020304" charset="0"/>
                      <a:cs typeface="Times New Roman" panose="02020603050405020304" charset="0"/>
                    </a:rPr>
                    <a:t>â</a:t>
                  </a:r>
                  <a:r>
                    <a:rPr lang="en-US" altLang="en-GB" sz="1900">
                      <a:latin typeface="Times New Roman" panose="02020603050405020304" charset="0"/>
                      <a:cs typeface="Times New Roman" panose="02020603050405020304" charset="0"/>
                    </a:rPr>
                    <a:t>u</a:t>
                  </a:r>
                </a:p>
              </p:txBody>
            </p:sp>
          </p:grpSp>
        </p:grpSp>
        <p:sp>
          <p:nvSpPr>
            <p:cNvPr id="23" name="Text Box 22"/>
            <p:cNvSpPr txBox="1"/>
            <p:nvPr/>
          </p:nvSpPr>
          <p:spPr>
            <a:xfrm>
              <a:off x="8448" y="9949"/>
              <a:ext cx="10592" cy="62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US" altLang="en-US" sz="2000" b="1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Khuy</a:t>
              </a:r>
              <a:r>
                <a:rPr lang="en-US" altLang="en-GB" sz="2000" b="1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ết</a:t>
              </a:r>
              <a:r>
                <a:rPr lang="en-US" sz="2000" b="1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 </a:t>
              </a:r>
              <a:r>
                <a:rPr lang="en-US" altLang="en-US" sz="2000" b="1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đ</a:t>
              </a:r>
              <a:r>
                <a:rPr lang="en-US" sz="2000" b="1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i</a:t>
              </a:r>
              <a:r>
                <a:rPr lang="en-US" altLang="en-GB" sz="2000" b="1">
                  <a:latin typeface="Times New Roman" panose="02020603050405020304" charset="0"/>
                  <a:cs typeface="Times New Roman" panose="02020603050405020304" charset="0"/>
                  <a:sym typeface="+mn-ea"/>
                </a:rPr>
                <a:t>ểm của ASP.NET</a:t>
              </a:r>
              <a:endParaRPr lang="en-US" altLang="en-GB" sz="2000">
                <a:latin typeface="Times New Roman" panose="02020603050405020304" charset="0"/>
                <a:cs typeface="Times New Roman" panose="02020603050405020304" charset="0"/>
                <a:sym typeface="+mn-ea"/>
              </a:endParaRPr>
            </a:p>
          </p:txBody>
        </p:sp>
      </p:grpSp>
      <p:pic>
        <p:nvPicPr>
          <p:cNvPr id="5" name="Audio 4">
            <a:hlinkClick r:id="" action="ppaction://media"/>
            <a:extLst>
              <a:ext uri="{FF2B5EF4-FFF2-40B4-BE49-F238E27FC236}">
                <a16:creationId xmlns:a16="http://schemas.microsoft.com/office/drawing/2014/main" id="{1388D8A5-0D27-A3F9-DE64-03D00E37DE88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3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Tm="43461">
    <p:comb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" presetClass="entr" presetSubtype="5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8369935" y="1116330"/>
            <a:ext cx="3534410" cy="2989580"/>
            <a:chOff x="13181" y="1758"/>
            <a:chExt cx="5566" cy="4708"/>
          </a:xfrm>
        </p:grpSpPr>
        <p:pic>
          <p:nvPicPr>
            <p:cNvPr id="19" name="Picture 18" descr="Razor Pages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13"/>
            <a:srcRect l="2169" t="14724" b="12327"/>
            <a:stretch>
              <a:fillRect/>
            </a:stretch>
          </p:blipFill>
          <p:spPr>
            <a:xfrm>
              <a:off x="13181" y="1758"/>
              <a:ext cx="5567" cy="3947"/>
            </a:xfrm>
            <a:prstGeom prst="rect">
              <a:avLst/>
            </a:prstGeom>
          </p:spPr>
        </p:pic>
        <p:sp>
          <p:nvSpPr>
            <p:cNvPr id="25" name="Text Box 24"/>
            <p:cNvSpPr txBox="1"/>
            <p:nvPr>
              <p:custDataLst>
                <p:tags r:id="rId11"/>
              </p:custDataLst>
            </p:nvPr>
          </p:nvSpPr>
          <p:spPr>
            <a:xfrm>
              <a:off x="13181" y="5886"/>
              <a:ext cx="5567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en-GB" b="1">
                  <a:latin typeface="Times New Roman" panose="02020603050405020304" charset="0"/>
                  <a:cs typeface="Times New Roman" panose="02020603050405020304" charset="0"/>
                </a:rPr>
                <a:t>Razor Pages</a:t>
              </a:r>
            </a:p>
          </p:txBody>
        </p:sp>
      </p:grpSp>
      <p:sp>
        <p:nvSpPr>
          <p:cNvPr id="3" name="Rounded Rectangle 2"/>
          <p:cNvSpPr/>
          <p:nvPr/>
        </p:nvSpPr>
        <p:spPr>
          <a:xfrm>
            <a:off x="61595" y="98425"/>
            <a:ext cx="12063730" cy="88138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C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G 2: NGHI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Ê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 CỨU L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Ý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 THUYẾT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325620" y="1115060"/>
            <a:ext cx="3535045" cy="2990215"/>
            <a:chOff x="6812" y="1756"/>
            <a:chExt cx="5567" cy="4709"/>
          </a:xfrm>
        </p:grpSpPr>
        <p:pic>
          <p:nvPicPr>
            <p:cNvPr id="2" name="Picture 1" descr="MVC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4"/>
            <a:stretch>
              <a:fillRect/>
            </a:stretch>
          </p:blipFill>
          <p:spPr>
            <a:xfrm>
              <a:off x="6813" y="1756"/>
              <a:ext cx="5566" cy="3950"/>
            </a:xfrm>
            <a:prstGeom prst="rect">
              <a:avLst/>
            </a:prstGeom>
          </p:spPr>
        </p:pic>
        <p:sp>
          <p:nvSpPr>
            <p:cNvPr id="9" name="Text Box 8"/>
            <p:cNvSpPr txBox="1"/>
            <p:nvPr>
              <p:custDataLst>
                <p:tags r:id="rId9"/>
              </p:custDataLst>
            </p:nvPr>
          </p:nvSpPr>
          <p:spPr>
            <a:xfrm>
              <a:off x="6812" y="5885"/>
              <a:ext cx="5567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en-GB" b="1">
                  <a:latin typeface="Times New Roman" panose="02020603050405020304" charset="0"/>
                  <a:cs typeface="Times New Roman" panose="02020603050405020304" charset="0"/>
                </a:rPr>
                <a:t>MVC (Model - View - Controller)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238760" y="1115695"/>
            <a:ext cx="3540760" cy="2989580"/>
            <a:chOff x="376" y="1757"/>
            <a:chExt cx="5576" cy="4708"/>
          </a:xfrm>
        </p:grpSpPr>
        <p:pic>
          <p:nvPicPr>
            <p:cNvPr id="4" name="Picture 3" descr="Web forms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15"/>
            <a:stretch>
              <a:fillRect/>
            </a:stretch>
          </p:blipFill>
          <p:spPr>
            <a:xfrm>
              <a:off x="376" y="1757"/>
              <a:ext cx="5566" cy="3948"/>
            </a:xfrm>
            <a:prstGeom prst="rect">
              <a:avLst/>
            </a:prstGeom>
          </p:spPr>
        </p:pic>
        <p:sp>
          <p:nvSpPr>
            <p:cNvPr id="10" name="Text Box 9"/>
            <p:cNvSpPr txBox="1"/>
            <p:nvPr>
              <p:custDataLst>
                <p:tags r:id="rId7"/>
              </p:custDataLst>
            </p:nvPr>
          </p:nvSpPr>
          <p:spPr>
            <a:xfrm>
              <a:off x="386" y="5885"/>
              <a:ext cx="5567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en-GB" b="1">
                  <a:latin typeface="Times New Roman" panose="02020603050405020304" charset="0"/>
                  <a:cs typeface="Times New Roman" panose="02020603050405020304" charset="0"/>
                </a:rPr>
                <a:t>Web forms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099310" y="4096385"/>
            <a:ext cx="3535045" cy="2771140"/>
            <a:chOff x="3306" y="6451"/>
            <a:chExt cx="5567" cy="4364"/>
          </a:xfrm>
        </p:grpSpPr>
        <p:pic>
          <p:nvPicPr>
            <p:cNvPr id="12" name="Picture 11" descr="SQL server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307" y="6451"/>
              <a:ext cx="5566" cy="3603"/>
            </a:xfrm>
            <a:prstGeom prst="rect">
              <a:avLst/>
            </a:prstGeom>
          </p:spPr>
        </p:pic>
        <p:sp>
          <p:nvSpPr>
            <p:cNvPr id="18" name="Text Box 17"/>
            <p:cNvSpPr txBox="1"/>
            <p:nvPr>
              <p:custDataLst>
                <p:tags r:id="rId5"/>
              </p:custDataLst>
            </p:nvPr>
          </p:nvSpPr>
          <p:spPr>
            <a:xfrm>
              <a:off x="3306" y="10235"/>
              <a:ext cx="5567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en-GB" b="1">
                  <a:latin typeface="Times New Roman" panose="02020603050405020304" charset="0"/>
                  <a:cs typeface="Times New Roman" panose="02020603050405020304" charset="0"/>
                </a:rPr>
                <a:t>SQL Server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6450965" y="4096385"/>
            <a:ext cx="3534410" cy="2771140"/>
            <a:chOff x="10159" y="6451"/>
            <a:chExt cx="5566" cy="4364"/>
          </a:xfrm>
        </p:grpSpPr>
        <p:pic>
          <p:nvPicPr>
            <p:cNvPr id="16" name="Picture 15" descr="ORM – Entity Framework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10161" y="6451"/>
              <a:ext cx="5565" cy="3602"/>
            </a:xfrm>
            <a:prstGeom prst="rect">
              <a:avLst/>
            </a:prstGeom>
          </p:spPr>
        </p:pic>
        <p:sp>
          <p:nvSpPr>
            <p:cNvPr id="24" name="Text Box 23"/>
            <p:cNvSpPr txBox="1"/>
            <p:nvPr>
              <p:custDataLst>
                <p:tags r:id="rId4"/>
              </p:custDataLst>
            </p:nvPr>
          </p:nvSpPr>
          <p:spPr>
            <a:xfrm>
              <a:off x="10159" y="10235"/>
              <a:ext cx="5567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en-GB" b="1">
                  <a:latin typeface="Times New Roman" panose="02020603050405020304" charset="0"/>
                  <a:cs typeface="Times New Roman" panose="02020603050405020304" charset="0"/>
                </a:rPr>
                <a:t>ORM – Entity Framework</a:t>
              </a:r>
            </a:p>
          </p:txBody>
        </p:sp>
      </p:grpSp>
      <p:pic>
        <p:nvPicPr>
          <p:cNvPr id="22" name="Audio 21">
            <a:hlinkClick r:id="" action="ppaction://media"/>
            <a:extLst>
              <a:ext uri="{FF2B5EF4-FFF2-40B4-BE49-F238E27FC236}">
                <a16:creationId xmlns:a16="http://schemas.microsoft.com/office/drawing/2014/main" id="{40E96E93-53F2-4A78-4076-CE0FA42974C6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8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 advTm="28126">
        <p:dissolve/>
      </p:transition>
    </mc:Choice>
    <mc:Fallback>
      <p:transition spd="slow" advTm="28126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7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7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7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7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7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3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2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61595" y="98425"/>
            <a:ext cx="12063730" cy="88138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C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G 3: HIỆN THỰC 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Ó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A NGHI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Ê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 CỨU</a:t>
            </a:r>
          </a:p>
        </p:txBody>
      </p:sp>
      <p:pic>
        <p:nvPicPr>
          <p:cNvPr id="967449896" name="Picture 1" descr="A diagram of a diagram with Ice hockey rink in the background&#10;&#10;AI-generated content may be incorrect.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127125"/>
            <a:ext cx="4587240" cy="5005705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4474210" y="1250950"/>
            <a:ext cx="7590790" cy="5349240"/>
            <a:chOff x="7046" y="1970"/>
            <a:chExt cx="11954" cy="8424"/>
          </a:xfrm>
        </p:grpSpPr>
        <p:sp>
          <p:nvSpPr>
            <p:cNvPr id="7" name="Rounded Rectangle 6"/>
            <p:cNvSpPr/>
            <p:nvPr/>
          </p:nvSpPr>
          <p:spPr>
            <a:xfrm>
              <a:off x="7046" y="1970"/>
              <a:ext cx="3614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Bảng Orders</a:t>
              </a: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7046" y="3785"/>
              <a:ext cx="3614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Bảng OrderDetails</a:t>
              </a: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7046" y="5400"/>
              <a:ext cx="3613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Bảng Products</a:t>
              </a: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46" y="7203"/>
              <a:ext cx="3613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Bảng Categories</a:t>
              </a: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46" y="9006"/>
              <a:ext cx="3613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Bảng Brands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10837" y="1970"/>
              <a:ext cx="4075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Bảng AspNetUsers</a:t>
              </a: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10837" y="3785"/>
              <a:ext cx="4076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8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Bảng AspNetRoles</a:t>
              </a:r>
            </a:p>
          </p:txBody>
        </p:sp>
        <p:sp>
          <p:nvSpPr>
            <p:cNvPr id="20" name="Rounded Rectangle 19"/>
            <p:cNvSpPr/>
            <p:nvPr/>
          </p:nvSpPr>
          <p:spPr>
            <a:xfrm>
              <a:off x="10837" y="5400"/>
              <a:ext cx="4076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4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Bảng AspNetUserRoles</a:t>
              </a: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10837" y="7203"/>
              <a:ext cx="4077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2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Bảng AspNetUserClaims</a:t>
              </a: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10837" y="9006"/>
              <a:ext cx="4075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2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Bảng AspNetRoleClaims</a:t>
              </a:r>
            </a:p>
          </p:txBody>
        </p:sp>
        <p:sp>
          <p:nvSpPr>
            <p:cNvPr id="23" name="Rounded Rectangle 22"/>
            <p:cNvSpPr/>
            <p:nvPr/>
          </p:nvSpPr>
          <p:spPr>
            <a:xfrm>
              <a:off x="15091" y="5297"/>
              <a:ext cx="3900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1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Bảng AspNetUserTokens</a:t>
              </a:r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15092" y="7725"/>
              <a:ext cx="3909" cy="1614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2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Bảng</a:t>
              </a:r>
            </a:p>
            <a:p>
              <a:pPr algn="ctr"/>
              <a:r>
                <a:rPr lang="en-US" altLang="en-GB" sz="22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__EFMigrations</a:t>
              </a:r>
            </a:p>
            <a:p>
              <a:pPr algn="ctr"/>
              <a:r>
                <a:rPr lang="en-US" altLang="en-GB" sz="22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History</a:t>
              </a:r>
            </a:p>
          </p:txBody>
        </p:sp>
        <p:sp>
          <p:nvSpPr>
            <p:cNvPr id="25" name="Rounded Rectangle 24"/>
            <p:cNvSpPr/>
            <p:nvPr/>
          </p:nvSpPr>
          <p:spPr>
            <a:xfrm>
              <a:off x="15090" y="2726"/>
              <a:ext cx="3846" cy="1388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en-GB" sz="21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Bảng AspNetUserLogins</a:t>
              </a:r>
            </a:p>
          </p:txBody>
        </p:sp>
      </p:grpSp>
      <p:pic>
        <p:nvPicPr>
          <p:cNvPr id="8" name="Audio 7">
            <a:hlinkClick r:id="" action="ppaction://media"/>
            <a:extLst>
              <a:ext uri="{FF2B5EF4-FFF2-40B4-BE49-F238E27FC236}">
                <a16:creationId xmlns:a16="http://schemas.microsoft.com/office/drawing/2014/main" id="{5FBCB203-570C-E6A9-E6E6-39F7A3C0B97B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 advTm="51249">
        <p:blinds/>
      </p:transition>
    </mc:Choice>
    <mc:Fallback>
      <p:transition spd="slow" advTm="51249">
        <p:blinds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74498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1000"/>
                                        <p:tgtEl>
                                          <p:spTgt spid="9674498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61595" y="98425"/>
            <a:ext cx="12063730" cy="88138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CH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ƯƠ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G 4: KẾT QUẢ NGHI</a:t>
            </a:r>
            <a:r>
              <a:rPr lang="en-US" altLang="en-US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Ê</a:t>
            </a:r>
            <a:r>
              <a:rPr lang="en-US" altLang="en-GB" sz="2800" b="1">
                <a:solidFill>
                  <a:srgbClr val="FF000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sym typeface="+mn-ea"/>
              </a:rPr>
              <a:t>N CỨU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61595" y="1122680"/>
            <a:ext cx="7543800" cy="5768340"/>
            <a:chOff x="97" y="1768"/>
            <a:chExt cx="11880" cy="9084"/>
          </a:xfrm>
        </p:grpSpPr>
        <p:pic>
          <p:nvPicPr>
            <p:cNvPr id="2" name="Picture 1" descr="Cấu trúc thư mục dự án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7" y="1768"/>
              <a:ext cx="11880" cy="8430"/>
            </a:xfrm>
            <a:prstGeom prst="rect">
              <a:avLst/>
            </a:prstGeom>
          </p:spPr>
        </p:pic>
        <p:sp>
          <p:nvSpPr>
            <p:cNvPr id="18" name="Text Box 17"/>
            <p:cNvSpPr txBox="1"/>
            <p:nvPr>
              <p:custDataLst>
                <p:tags r:id="rId4"/>
              </p:custDataLst>
            </p:nvPr>
          </p:nvSpPr>
          <p:spPr>
            <a:xfrm>
              <a:off x="98" y="10224"/>
              <a:ext cx="11879" cy="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en-GB" sz="20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Cấu tr</a:t>
              </a:r>
              <a:r>
                <a:rPr lang="en-US" altLang="en-US" sz="20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ú</a:t>
              </a:r>
              <a:r>
                <a:rPr lang="en-US" altLang="en-GB" sz="20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c th</a:t>
              </a:r>
              <a:r>
                <a:rPr lang="en-US" altLang="en-US" sz="20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ư</a:t>
              </a:r>
              <a:r>
                <a:rPr lang="en-US" sz="20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 m</a:t>
              </a:r>
              <a:r>
                <a:rPr lang="en-US" altLang="en-GB" sz="20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ục dự </a:t>
              </a:r>
              <a:r>
                <a:rPr lang="en-US" altLang="en-US" sz="20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á</a:t>
              </a:r>
              <a:r>
                <a:rPr lang="en-US" altLang="en-GB" sz="2000" b="1">
                  <a:solidFill>
                    <a:srgbClr val="7030A0"/>
                  </a:solidFill>
                  <a:effectLst/>
                  <a:latin typeface="Times New Roman" panose="02020603050405020304" charset="0"/>
                  <a:ea typeface="SimSun" panose="02010600030101010101" pitchFamily="2" charset="-122"/>
                  <a:sym typeface="+mn-ea"/>
                </a:rPr>
                <a:t>n</a:t>
              </a:r>
              <a:endParaRPr lang="en-US" altLang="en-GB" sz="2000" b="1">
                <a:solidFill>
                  <a:srgbClr val="7030A0"/>
                </a:solidFill>
                <a:effectLst/>
                <a:latin typeface="Times New Roman" panose="02020603050405020304" charset="0"/>
                <a:ea typeface="SimSun" panose="02010600030101010101" pitchFamily="2" charset="-122"/>
                <a:cs typeface="Times New Roman" panose="02020603050405020304" charset="0"/>
                <a:sym typeface="+mn-ea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7605395" y="1122680"/>
            <a:ext cx="4023995" cy="5636895"/>
            <a:chOff x="11977" y="1768"/>
            <a:chExt cx="6337" cy="8877"/>
          </a:xfrm>
        </p:grpSpPr>
        <p:grpSp>
          <p:nvGrpSpPr>
            <p:cNvPr id="32" name="Group 31"/>
            <p:cNvGrpSpPr/>
            <p:nvPr/>
          </p:nvGrpSpPr>
          <p:grpSpPr>
            <a:xfrm>
              <a:off x="11992" y="7385"/>
              <a:ext cx="6322" cy="1388"/>
              <a:chOff x="11992" y="7385"/>
              <a:chExt cx="6322" cy="1388"/>
            </a:xfrm>
          </p:grpSpPr>
          <p:sp>
            <p:nvSpPr>
              <p:cNvPr id="24" name="Rounded Rectangle 23"/>
              <p:cNvSpPr/>
              <p:nvPr/>
            </p:nvSpPr>
            <p:spPr>
              <a:xfrm>
                <a:off x="13378" y="7385"/>
                <a:ext cx="4937" cy="1388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0">
                <a:srgbClr val="FFFFFF"/>
              </a:fillRef>
              <a:effectRef idx="0">
                <a:srgbClr val="FFFFFF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en-GB" sz="2400" b="1">
                    <a:solidFill>
                      <a:srgbClr val="7030A0"/>
                    </a:solidFill>
                    <a:effectLst/>
                    <a:latin typeface="Times New Roman" panose="02020603050405020304" charset="0"/>
                    <a:ea typeface="SimSun" panose="02010600030101010101" pitchFamily="2" charset="-122"/>
                    <a:sym typeface="+mn-ea"/>
                  </a:rPr>
                  <a:t>AccountController.cs,ManageController.cs</a:t>
                </a:r>
              </a:p>
            </p:txBody>
          </p:sp>
          <p:cxnSp>
            <p:nvCxnSpPr>
              <p:cNvPr id="26" name="Straight Arrow Connector 25"/>
              <p:cNvCxnSpPr/>
              <p:nvPr/>
            </p:nvCxnSpPr>
            <p:spPr>
              <a:xfrm>
                <a:off x="11992" y="8081"/>
                <a:ext cx="1370" cy="0"/>
              </a:xfrm>
              <a:prstGeom prst="straightConnector1">
                <a:avLst/>
              </a:prstGeom>
              <a:ln>
                <a:headEnd type="arrow"/>
                <a:tailEnd type="arrow"/>
              </a:ln>
            </p:spPr>
            <p:style>
              <a:lnRef idx="2">
                <a:schemeClr val="accent1"/>
              </a:lnRef>
              <a:fillRef idx="0">
                <a:srgbClr val="FFFFFF"/>
              </a:fillRef>
              <a:effectRef idx="0">
                <a:srgbClr val="FFFFFF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/>
          </p:nvGrpSpPr>
          <p:grpSpPr>
            <a:xfrm>
              <a:off x="12008" y="3641"/>
              <a:ext cx="6306" cy="1388"/>
              <a:chOff x="12008" y="3641"/>
              <a:chExt cx="6306" cy="1388"/>
            </a:xfrm>
          </p:grpSpPr>
          <p:sp>
            <p:nvSpPr>
              <p:cNvPr id="6" name="Rounded Rectangle 5"/>
              <p:cNvSpPr/>
              <p:nvPr/>
            </p:nvSpPr>
            <p:spPr>
              <a:xfrm>
                <a:off x="13378" y="3641"/>
                <a:ext cx="4937" cy="1388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0">
                <a:srgbClr val="FFFFFF"/>
              </a:fillRef>
              <a:effectRef idx="0">
                <a:srgbClr val="FFFFFF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en-GB" sz="2400" b="1">
                    <a:solidFill>
                      <a:srgbClr val="7030A0"/>
                    </a:solidFill>
                    <a:effectLst/>
                    <a:latin typeface="Times New Roman" panose="02020603050405020304" charset="0"/>
                    <a:ea typeface="SimSun" panose="02010600030101010101" pitchFamily="2" charset="-122"/>
                    <a:sym typeface="+mn-ea"/>
                  </a:rPr>
                  <a:t>ProductsController.cs </a:t>
                </a:r>
              </a:p>
            </p:txBody>
          </p:sp>
          <p:cxnSp>
            <p:nvCxnSpPr>
              <p:cNvPr id="27" name="Straight Arrow Connector 26"/>
              <p:cNvCxnSpPr/>
              <p:nvPr/>
            </p:nvCxnSpPr>
            <p:spPr>
              <a:xfrm>
                <a:off x="12008" y="4335"/>
                <a:ext cx="1370" cy="0"/>
              </a:xfrm>
              <a:prstGeom prst="straightConnector1">
                <a:avLst/>
              </a:prstGeom>
              <a:ln>
                <a:headEnd type="arrow"/>
                <a:tailEnd type="arrow"/>
              </a:ln>
            </p:spPr>
            <p:style>
              <a:lnRef idx="2">
                <a:schemeClr val="accent1"/>
              </a:lnRef>
              <a:fillRef idx="0">
                <a:srgbClr val="FFFFFF"/>
              </a:fillRef>
              <a:effectRef idx="0">
                <a:srgbClr val="FFFFFF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/>
          </p:nvGrpSpPr>
          <p:grpSpPr>
            <a:xfrm>
              <a:off x="11977" y="1768"/>
              <a:ext cx="6337" cy="1388"/>
              <a:chOff x="11977" y="1768"/>
              <a:chExt cx="6337" cy="1388"/>
            </a:xfrm>
          </p:grpSpPr>
          <p:sp>
            <p:nvSpPr>
              <p:cNvPr id="5" name="Rounded Rectangle 4"/>
              <p:cNvSpPr/>
              <p:nvPr/>
            </p:nvSpPr>
            <p:spPr>
              <a:xfrm>
                <a:off x="13378" y="1768"/>
                <a:ext cx="4937" cy="1388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0">
                <a:srgbClr val="FFFFFF"/>
              </a:fillRef>
              <a:effectRef idx="0">
                <a:srgbClr val="FFFFFF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en-GB" sz="2400" b="1">
                    <a:solidFill>
                      <a:srgbClr val="7030A0"/>
                    </a:solidFill>
                    <a:effectLst/>
                    <a:latin typeface="Times New Roman" panose="02020603050405020304" charset="0"/>
                    <a:ea typeface="SimSun" panose="02010600030101010101" pitchFamily="2" charset="-122"/>
                    <a:sym typeface="+mn-ea"/>
                  </a:rPr>
                  <a:t>HomeController.cs</a:t>
                </a:r>
              </a:p>
            </p:txBody>
          </p:sp>
          <p:cxnSp>
            <p:nvCxnSpPr>
              <p:cNvPr id="28" name="Straight Arrow Connector 27"/>
              <p:cNvCxnSpPr/>
              <p:nvPr/>
            </p:nvCxnSpPr>
            <p:spPr>
              <a:xfrm>
                <a:off x="11977" y="2462"/>
                <a:ext cx="1370" cy="0"/>
              </a:xfrm>
              <a:prstGeom prst="straightConnector1">
                <a:avLst/>
              </a:prstGeom>
              <a:ln>
                <a:headEnd type="arrow"/>
                <a:tailEnd type="arrow"/>
              </a:ln>
            </p:spPr>
            <p:style>
              <a:lnRef idx="2">
                <a:schemeClr val="accent1"/>
              </a:lnRef>
              <a:fillRef idx="0">
                <a:srgbClr val="FFFFFF"/>
              </a:fillRef>
              <a:effectRef idx="0">
                <a:srgbClr val="FFFFFF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/>
          </p:nvGrpSpPr>
          <p:grpSpPr>
            <a:xfrm>
              <a:off x="11992" y="5513"/>
              <a:ext cx="6322" cy="1388"/>
              <a:chOff x="11992" y="5513"/>
              <a:chExt cx="6322" cy="1388"/>
            </a:xfrm>
          </p:grpSpPr>
          <p:sp>
            <p:nvSpPr>
              <p:cNvPr id="11" name="Rounded Rectangle 10"/>
              <p:cNvSpPr/>
              <p:nvPr/>
            </p:nvSpPr>
            <p:spPr>
              <a:xfrm>
                <a:off x="13378" y="5513"/>
                <a:ext cx="4937" cy="1388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0">
                <a:srgbClr val="FFFFFF"/>
              </a:fillRef>
              <a:effectRef idx="0">
                <a:srgbClr val="FFFFFF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en-GB" b="1">
                    <a:solidFill>
                      <a:srgbClr val="7030A0"/>
                    </a:solidFill>
                    <a:effectLst/>
                    <a:latin typeface="Times New Roman" panose="02020603050405020304" charset="0"/>
                    <a:ea typeface="SimSun" panose="02010600030101010101" pitchFamily="2" charset="-122"/>
                    <a:sym typeface="+mn-ea"/>
                  </a:rPr>
                  <a:t>ShoppingCartController.cs </a:t>
                </a:r>
              </a:p>
            </p:txBody>
          </p:sp>
          <p:cxnSp>
            <p:nvCxnSpPr>
              <p:cNvPr id="29" name="Straight Arrow Connector 28"/>
              <p:cNvCxnSpPr/>
              <p:nvPr/>
            </p:nvCxnSpPr>
            <p:spPr>
              <a:xfrm>
                <a:off x="11992" y="6208"/>
                <a:ext cx="1370" cy="0"/>
              </a:xfrm>
              <a:prstGeom prst="straightConnector1">
                <a:avLst/>
              </a:prstGeom>
              <a:ln>
                <a:headEnd type="arrow"/>
                <a:tailEnd type="arrow"/>
              </a:ln>
            </p:spPr>
            <p:style>
              <a:lnRef idx="2">
                <a:schemeClr val="accent1"/>
              </a:lnRef>
              <a:fillRef idx="0">
                <a:srgbClr val="FFFFFF"/>
              </a:fillRef>
              <a:effectRef idx="0">
                <a:srgbClr val="FFFFFF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/>
          </p:nvGrpSpPr>
          <p:grpSpPr>
            <a:xfrm>
              <a:off x="12008" y="9257"/>
              <a:ext cx="6306" cy="1388"/>
              <a:chOff x="12008" y="9257"/>
              <a:chExt cx="6306" cy="1388"/>
            </a:xfrm>
          </p:grpSpPr>
          <p:sp>
            <p:nvSpPr>
              <p:cNvPr id="25" name="Rounded Rectangle 24"/>
              <p:cNvSpPr/>
              <p:nvPr/>
            </p:nvSpPr>
            <p:spPr>
              <a:xfrm>
                <a:off x="13378" y="9257"/>
                <a:ext cx="4937" cy="1388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0">
                <a:srgbClr val="FFFFFF"/>
              </a:fillRef>
              <a:effectRef idx="0">
                <a:srgbClr val="FFFFFF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en-GB" sz="2000" b="1">
                    <a:solidFill>
                      <a:srgbClr val="7030A0"/>
                    </a:solidFill>
                    <a:effectLst/>
                    <a:latin typeface="Times New Roman" panose="02020603050405020304" charset="0"/>
                    <a:ea typeface="SimSun" panose="02010600030101010101" pitchFamily="2" charset="-122"/>
                    <a:sym typeface="+mn-ea"/>
                  </a:rPr>
                  <a:t>NewsController.cs, MenuController.cs, ContactController.cs</a:t>
                </a:r>
              </a:p>
            </p:txBody>
          </p:sp>
          <p:cxnSp>
            <p:nvCxnSpPr>
              <p:cNvPr id="30" name="Straight Arrow Connector 29"/>
              <p:cNvCxnSpPr/>
              <p:nvPr/>
            </p:nvCxnSpPr>
            <p:spPr>
              <a:xfrm>
                <a:off x="12008" y="10057"/>
                <a:ext cx="1370" cy="0"/>
              </a:xfrm>
              <a:prstGeom prst="straightConnector1">
                <a:avLst/>
              </a:prstGeom>
              <a:ln>
                <a:headEnd type="arrow"/>
                <a:tailEnd type="arrow"/>
              </a:ln>
            </p:spPr>
            <p:style>
              <a:lnRef idx="2">
                <a:schemeClr val="accent1"/>
              </a:lnRef>
              <a:fillRef idx="0">
                <a:srgbClr val="FFFFFF"/>
              </a:fillRef>
              <a:effectRef idx="0">
                <a:srgbClr val="FFFFFF"/>
              </a:effectRef>
              <a:fontRef idx="minor">
                <a:schemeClr val="tx1"/>
              </a:fontRef>
            </p:style>
          </p:cxnSp>
        </p:grpSp>
      </p:grpSp>
      <p:pic>
        <p:nvPicPr>
          <p:cNvPr id="8" name="Audio 7">
            <a:hlinkClick r:id="" action="ppaction://media"/>
            <a:extLst>
              <a:ext uri="{FF2B5EF4-FFF2-40B4-BE49-F238E27FC236}">
                <a16:creationId xmlns:a16="http://schemas.microsoft.com/office/drawing/2014/main" id="{3481D12A-1031-389B-48A4-0764F5214018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rcRect l="-262704" t="-125896" r="-262704" b="-125896"/>
          <a:stretch>
            <a:fillRect/>
          </a:stretch>
        </p:blipFill>
        <p:spPr>
          <a:xfrm>
            <a:off x="9144000" y="5143500"/>
            <a:ext cx="3048000" cy="17145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 advTm="35980">
        <p14:prism/>
      </p:transition>
    </mc:Choice>
    <mc:Fallback>
      <p:transition spd="slow" advTm="3598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1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7.8|19|18.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.1|19.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9.35,&quot;left&quot;:289.6,&quot;top&quot;:83.55,&quot;width&quot;:662.4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9.35,&quot;left&quot;:289.6,&quot;top&quot;:83.55,&quot;width&quot;:662.4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9.35,&quot;left&quot;:289.6,&quot;top&quot;:83.55,&quot;width&quot;:662.4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29.35,&quot;left&quot;:289.6,&quot;top&quot;:83.55,&quot;width&quot;:662.4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2|9.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1.65,&quot;left&quot;:18.8,&quot;top&quot;:79.6,&quot;width&quot;:934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1.65,&quot;left&quot;:18.8,&quot;top&quot;:79.6,&quot;width&quot;:934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1.65,&quot;left&quot;:18.8,&quot;top&quot;:79.6,&quot;width&quot;:934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1.65,&quot;left&quot;:18.8,&quot;top&quot;:79.6,&quot;width&quot;:934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1.65,&quot;left&quot;:18.8,&quot;top&quot;:79.6,&quot;width&quot;:934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1.65,&quot;left&quot;:18.8,&quot;top&quot;:79.6,&quot;width&quot;:934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1.65,&quot;left&quot;:18.8,&quot;top&quot;:79.6,&quot;width&quot;:934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1.65,&quot;left&quot;:18.8,&quot;top&quot;:79.6,&quot;width&quot;:934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7.4|2.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.6|3.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1.65,&quot;left&quot;:18.8,&quot;top&quot;:79.6,&quot;width&quot;:934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7|13.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207.9,&quot;left&quot;:92.49999999999997,&quot;top&quot;:110.05,&quot;width&quot;:238.6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207.9,&quot;left&quot;:92.49999999999997,&quot;top&quot;:110.05,&quot;width&quot;:238.6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207.9,&quot;left&quot;:92.49999999999997,&quot;top&quot;:110.05,&quot;width&quot;:238.6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207.9,&quot;left&quot;:92.49999999999997,&quot;top&quot;:110.05,&quot;width&quot;:238.6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207.9,&quot;left&quot;:92.49999999999997,&quot;top&quot;:110.05,&quot;width&quot;:238.6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207.9,&quot;left&quot;:92.49999999999997,&quot;top&quot;:110.05,&quot;width&quot;:238.6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207.9,&quot;left&quot;:92.49999999999997,&quot;top&quot;:110.05,&quot;width&quot;:238.6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207.9,&quot;left&quot;:92.49999999999997,&quot;top&quot;:110.05,&quot;width&quot;:238.6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207.9,&quot;left&quot;:92.49999999999997,&quot;top&quot;:110.05,&quot;width&quot;:238.6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.5|48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530.1,&quot;left&quot;:0,&quot;top&quot;:6.9,&quot;width&quot;:960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8</TotalTime>
  <Words>1646</Words>
  <Application>Microsoft Office PowerPoint</Application>
  <PresentationFormat>Widescreen</PresentationFormat>
  <Paragraphs>139</Paragraphs>
  <Slides>19</Slides>
  <Notes>14</Notes>
  <HiddenSlides>0</HiddenSlides>
  <MMClips>19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Arial Black</vt:lpstr>
      <vt:lpstr>Calibri</vt:lpstr>
      <vt:lpstr>Calibri Light</vt:lpstr>
      <vt:lpstr>Times New Roman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PS Presentation</dc:title>
  <dc:creator>XPS</dc:creator>
  <cp:lastModifiedBy>XPS</cp:lastModifiedBy>
  <cp:revision>50</cp:revision>
  <dcterms:created xsi:type="dcterms:W3CDTF">2025-07-23T00:59:00Z</dcterms:created>
  <dcterms:modified xsi:type="dcterms:W3CDTF">2025-10-19T12:2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BABDA60AD874E19B0818EEDCA1347FA_11</vt:lpwstr>
  </property>
  <property fmtid="{D5CDD505-2E9C-101B-9397-08002B2CF9AE}" pid="3" name="KSOProductBuildVer">
    <vt:lpwstr>2057-12.2.0.23131</vt:lpwstr>
  </property>
</Properties>
</file>